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slides/slide9.xml" ContentType="application/vnd.openxmlformats-officedocument.presentationml.slide+xml"/>
  <Override PartName="/ppt/diagrams/data2.xml" ContentType="application/vnd.openxmlformats-officedocument.drawingml.diagramData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diagrams/colors1.xml" ContentType="application/vnd.openxmlformats-officedocument.drawingml.diagramColors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5.xml" ContentType="application/vnd.openxmlformats-officedocument.presentationml.slideLayout+xml"/>
  <Override PartName="/ppt/diagrams/layout4.xml" ContentType="application/vnd.openxmlformats-officedocument.drawingml.diagramLayout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diagrams/quickStyle4.xml" ContentType="application/vnd.openxmlformats-officedocument.drawingml.diagramStyle+xml"/>
  <Override PartName="/docProps/app.xml" ContentType="application/vnd.openxmlformats-officedocument.extended-properties+xml"/>
  <Default Extension="xml" ContentType="application/xml"/>
  <Override PartName="/ppt/diagrams/drawing3.xml" ContentType="application/vnd.ms-office.drawingml.diagramDrawing+xml"/>
  <Override PartName="/ppt/tableStyles.xml" ContentType="application/vnd.openxmlformats-officedocument.presentationml.tableStyles+xml"/>
  <Override PartName="/ppt/diagrams/data3.xml" ContentType="application/vnd.openxmlformats-officedocument.drawingml.diagramData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ppt/diagrams/colors2.xml" ContentType="application/vnd.openxmlformats-officedocument.drawingml.diagramColors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diagrams/quickStyle1.xml" ContentType="application/vnd.openxmlformats-officedocument.drawingml.diagramStyle+xml"/>
  <Override PartName="/ppt/slideLayouts/slideLayout2.xml" ContentType="application/vnd.openxmlformats-officedocument.presentationml.slideLayout+xml"/>
  <Override PartName="/ppt/diagrams/layout1.xml" ContentType="application/vnd.openxmlformats-officedocument.drawingml.diagramLayout+xml"/>
  <Override PartName="/ppt/diagrams/drawing4.xml" ContentType="application/vnd.ms-office.drawingml.diagramDrawing+xml"/>
  <Override PartName="/ppt/diagrams/data4.xml" ContentType="application/vnd.openxmlformats-officedocument.drawingml.diagramData+xml"/>
  <Override PartName="/ppt/notesSlides/notesSlide2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diagrams/colors3.xml" ContentType="application/vnd.openxmlformats-officedocument.drawingml.diagramColors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diagrams/layout2.xml" ContentType="application/vnd.openxmlformats-officedocument.drawingml.diagramLayout+xml"/>
  <Override PartName="/ppt/slideLayouts/slideLayout3.xml" ContentType="application/vnd.openxmlformats-officedocument.presentationml.slideLayout+xml"/>
  <Override PartName="/ppt/diagrams/quickStyle2.xml" ContentType="application/vnd.openxmlformats-officedocument.drawingml.diagramStyle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4.xml" ContentType="application/vnd.openxmlformats-officedocument.drawingml.diagramColors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diagrams/layout3.xml" ContentType="application/vnd.openxmlformats-officedocument.drawingml.diagramLayout+xml"/>
  <Override PartName="/ppt/slideLayouts/slideLayout4.xml" ContentType="application/vnd.openxmlformats-officedocument.presentationml.slideLayout+xml"/>
  <Override PartName="/ppt/diagrams/quickStyle3.xml" ContentType="application/vnd.openxmlformats-officedocument.drawingml.diagramStyl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16"/>
  </p:notesMasterIdLst>
  <p:sldIdLst>
    <p:sldId id="344" r:id="rId2"/>
    <p:sldId id="408" r:id="rId3"/>
    <p:sldId id="416" r:id="rId4"/>
    <p:sldId id="410" r:id="rId5"/>
    <p:sldId id="415" r:id="rId6"/>
    <p:sldId id="417" r:id="rId7"/>
    <p:sldId id="409" r:id="rId8"/>
    <p:sldId id="418" r:id="rId9"/>
    <p:sldId id="419" r:id="rId10"/>
    <p:sldId id="420" r:id="rId11"/>
    <p:sldId id="412" r:id="rId12"/>
    <p:sldId id="413" r:id="rId13"/>
    <p:sldId id="414" r:id="rId14"/>
    <p:sldId id="347" r:id="rId1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165" autoAdjust="0"/>
    <p:restoredTop sz="88748" autoAdjust="0"/>
  </p:normalViewPr>
  <p:slideViewPr>
    <p:cSldViewPr>
      <p:cViewPr>
        <p:scale>
          <a:sx n="100" d="100"/>
          <a:sy n="100" d="100"/>
        </p:scale>
        <p:origin x="-2728" y="-4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printerSettings" Target="printerSettings/printerSettings1.bin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F9928C-065B-4C4A-8DAE-200F3DA1B7FD}" type="doc">
      <dgm:prSet loTypeId="urn:microsoft.com/office/officeart/2005/8/layout/orgChart1" loCatId="hierarchy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15612F44-E3BF-FA4C-B6D3-661559900B10}">
      <dgm:prSet/>
      <dgm:spPr/>
      <dgm:t>
        <a:bodyPr/>
        <a:lstStyle/>
        <a:p>
          <a:pPr rtl="0"/>
          <a:r>
            <a:rPr lang="en-US" dirty="0" smtClean="0"/>
            <a:t>Interoperability</a:t>
          </a:r>
          <a:endParaRPr lang="en-US" dirty="0"/>
        </a:p>
      </dgm:t>
    </dgm:pt>
    <dgm:pt modelId="{4669AEEE-F3AB-9943-962B-FBF2FF76CF0B}" type="parTrans" cxnId="{8F5311AF-310C-404F-9658-5868D5262B15}">
      <dgm:prSet/>
      <dgm:spPr/>
      <dgm:t>
        <a:bodyPr/>
        <a:lstStyle/>
        <a:p>
          <a:endParaRPr lang="en-US"/>
        </a:p>
      </dgm:t>
    </dgm:pt>
    <dgm:pt modelId="{52CEF45B-3FEB-C544-9B5C-90EA5154E7C1}" type="sibTrans" cxnId="{8F5311AF-310C-404F-9658-5868D5262B15}">
      <dgm:prSet/>
      <dgm:spPr/>
      <dgm:t>
        <a:bodyPr/>
        <a:lstStyle/>
        <a:p>
          <a:endParaRPr lang="en-US"/>
        </a:p>
      </dgm:t>
    </dgm:pt>
    <dgm:pt modelId="{EC67F45C-CE34-5F43-8C9B-D118DBC77156}">
      <dgm:prSet/>
      <dgm:spPr/>
      <dgm:t>
        <a:bodyPr/>
        <a:lstStyle/>
        <a:p>
          <a:pPr rtl="0"/>
          <a:r>
            <a:rPr lang="en-US" dirty="0" smtClean="0"/>
            <a:t>Locate (Discover service)</a:t>
          </a:r>
          <a:endParaRPr lang="en-US" dirty="0"/>
        </a:p>
      </dgm:t>
    </dgm:pt>
    <dgm:pt modelId="{75DF6518-9375-8A46-81A2-1426F1B0015E}" type="parTrans" cxnId="{F6105B45-F2B6-2244-964F-33D58C4C32ED}">
      <dgm:prSet/>
      <dgm:spPr/>
      <dgm:t>
        <a:bodyPr/>
        <a:lstStyle/>
        <a:p>
          <a:endParaRPr lang="en-US"/>
        </a:p>
      </dgm:t>
    </dgm:pt>
    <dgm:pt modelId="{DA147586-6AB3-2B46-9709-2EAC09D87BBC}" type="sibTrans" cxnId="{F6105B45-F2B6-2244-964F-33D58C4C32ED}">
      <dgm:prSet/>
      <dgm:spPr/>
      <dgm:t>
        <a:bodyPr/>
        <a:lstStyle/>
        <a:p>
          <a:endParaRPr lang="en-US"/>
        </a:p>
      </dgm:t>
    </dgm:pt>
    <dgm:pt modelId="{99C80694-5318-974F-B773-DD30F4AF5560}">
      <dgm:prSet/>
      <dgm:spPr/>
      <dgm:t>
        <a:bodyPr/>
        <a:lstStyle/>
        <a:p>
          <a:pPr rtl="0"/>
          <a:r>
            <a:rPr lang="en-US" dirty="0" smtClean="0"/>
            <a:t>Manage interface</a:t>
          </a:r>
          <a:endParaRPr lang="en-US" dirty="0"/>
        </a:p>
      </dgm:t>
    </dgm:pt>
    <dgm:pt modelId="{83738DE3-0EC6-C54E-9748-B7FA42A1F360}" type="parTrans" cxnId="{B8977B96-5AD2-EE45-9C82-B6A90F4F6F29}">
      <dgm:prSet/>
      <dgm:spPr/>
      <dgm:t>
        <a:bodyPr/>
        <a:lstStyle/>
        <a:p>
          <a:endParaRPr lang="en-US"/>
        </a:p>
      </dgm:t>
    </dgm:pt>
    <dgm:pt modelId="{11515148-4C69-674F-B24E-07D8A6356AC3}" type="sibTrans" cxnId="{B8977B96-5AD2-EE45-9C82-B6A90F4F6F29}">
      <dgm:prSet/>
      <dgm:spPr/>
      <dgm:t>
        <a:bodyPr/>
        <a:lstStyle/>
        <a:p>
          <a:endParaRPr lang="en-US"/>
        </a:p>
      </dgm:t>
    </dgm:pt>
    <dgm:pt modelId="{9A9FABB2-6880-C947-9148-5D10C2AC6316}">
      <dgm:prSet/>
      <dgm:spPr/>
      <dgm:t>
        <a:bodyPr/>
        <a:lstStyle/>
        <a:p>
          <a:pPr rtl="0"/>
          <a:r>
            <a:rPr lang="en-US" dirty="0" smtClean="0"/>
            <a:t>Orchestrate</a:t>
          </a:r>
          <a:endParaRPr lang="en-US" dirty="0"/>
        </a:p>
      </dgm:t>
    </dgm:pt>
    <dgm:pt modelId="{6FDB40F4-C070-634E-92EF-45305EE06B7B}" type="parTrans" cxnId="{2EE41A6F-4356-FD49-B17A-B609580F8013}">
      <dgm:prSet/>
      <dgm:spPr/>
      <dgm:t>
        <a:bodyPr/>
        <a:lstStyle/>
        <a:p>
          <a:endParaRPr lang="en-US"/>
        </a:p>
      </dgm:t>
    </dgm:pt>
    <dgm:pt modelId="{1BB8522E-47AF-7247-A043-38A8A48622D2}" type="sibTrans" cxnId="{2EE41A6F-4356-FD49-B17A-B609580F8013}">
      <dgm:prSet/>
      <dgm:spPr/>
      <dgm:t>
        <a:bodyPr/>
        <a:lstStyle/>
        <a:p>
          <a:endParaRPr lang="en-US"/>
        </a:p>
      </dgm:t>
    </dgm:pt>
    <dgm:pt modelId="{9EC7074D-DCBF-6E41-B1E9-275469FA3083}">
      <dgm:prSet/>
      <dgm:spPr/>
      <dgm:t>
        <a:bodyPr/>
        <a:lstStyle/>
        <a:p>
          <a:pPr rtl="0"/>
          <a:r>
            <a:rPr lang="en-US" dirty="0" smtClean="0"/>
            <a:t>Tailor interface</a:t>
          </a:r>
          <a:endParaRPr lang="en-US" dirty="0"/>
        </a:p>
      </dgm:t>
    </dgm:pt>
    <dgm:pt modelId="{FFBE23A6-C0CE-4C4E-8203-E2D4DBF95A21}" type="parTrans" cxnId="{3D0F6F3C-D6C7-3D48-96B2-FC0CCCE65EDF}">
      <dgm:prSet/>
      <dgm:spPr/>
      <dgm:t>
        <a:bodyPr/>
        <a:lstStyle/>
        <a:p>
          <a:endParaRPr lang="en-US"/>
        </a:p>
      </dgm:t>
    </dgm:pt>
    <dgm:pt modelId="{010D0DBC-3075-A240-B522-FE7E58B86827}" type="sibTrans" cxnId="{3D0F6F3C-D6C7-3D48-96B2-FC0CCCE65EDF}">
      <dgm:prSet/>
      <dgm:spPr/>
      <dgm:t>
        <a:bodyPr/>
        <a:lstStyle/>
        <a:p>
          <a:endParaRPr lang="en-US"/>
        </a:p>
      </dgm:t>
    </dgm:pt>
    <dgm:pt modelId="{058E5578-AFAC-7D4E-AD10-F3E402150122}" type="pres">
      <dgm:prSet presAssocID="{99F9928C-065B-4C4A-8DAE-200F3DA1B7F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8E6DD732-9BFF-8348-986A-895A9F3A7759}" type="pres">
      <dgm:prSet presAssocID="{15612F44-E3BF-FA4C-B6D3-661559900B10}" presName="hierRoot1" presStyleCnt="0">
        <dgm:presLayoutVars>
          <dgm:hierBranch val="init"/>
        </dgm:presLayoutVars>
      </dgm:prSet>
      <dgm:spPr/>
    </dgm:pt>
    <dgm:pt modelId="{A4526A7F-BDD2-B049-A940-1E644C864348}" type="pres">
      <dgm:prSet presAssocID="{15612F44-E3BF-FA4C-B6D3-661559900B10}" presName="rootComposite1" presStyleCnt="0"/>
      <dgm:spPr/>
    </dgm:pt>
    <dgm:pt modelId="{4FBBED54-25DB-654F-A481-36C9FB049224}" type="pres">
      <dgm:prSet presAssocID="{15612F44-E3BF-FA4C-B6D3-661559900B10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5DF11FD-9369-0848-AA6D-DDA585AAD815}" type="pres">
      <dgm:prSet presAssocID="{15612F44-E3BF-FA4C-B6D3-661559900B10}" presName="rootConnector1" presStyleLbl="node1" presStyleIdx="0" presStyleCnt="0"/>
      <dgm:spPr/>
      <dgm:t>
        <a:bodyPr/>
        <a:lstStyle/>
        <a:p>
          <a:endParaRPr lang="en-US"/>
        </a:p>
      </dgm:t>
    </dgm:pt>
    <dgm:pt modelId="{43F8DD9C-E74E-0742-9093-C6C82EFBE380}" type="pres">
      <dgm:prSet presAssocID="{15612F44-E3BF-FA4C-B6D3-661559900B10}" presName="hierChild2" presStyleCnt="0"/>
      <dgm:spPr/>
    </dgm:pt>
    <dgm:pt modelId="{0F8094D8-B940-5842-9625-C7D8BB2095D0}" type="pres">
      <dgm:prSet presAssocID="{75DF6518-9375-8A46-81A2-1426F1B0015E}" presName="Name37" presStyleLbl="parChTrans1D2" presStyleIdx="0" presStyleCnt="2"/>
      <dgm:spPr/>
      <dgm:t>
        <a:bodyPr/>
        <a:lstStyle/>
        <a:p>
          <a:endParaRPr lang="en-US"/>
        </a:p>
      </dgm:t>
    </dgm:pt>
    <dgm:pt modelId="{6B7C6297-96CC-5149-B800-19EBE497F89A}" type="pres">
      <dgm:prSet presAssocID="{EC67F45C-CE34-5F43-8C9B-D118DBC77156}" presName="hierRoot2" presStyleCnt="0">
        <dgm:presLayoutVars>
          <dgm:hierBranch val="init"/>
        </dgm:presLayoutVars>
      </dgm:prSet>
      <dgm:spPr/>
    </dgm:pt>
    <dgm:pt modelId="{79820BCD-96CA-5742-BDD8-3CF42213D7B0}" type="pres">
      <dgm:prSet presAssocID="{EC67F45C-CE34-5F43-8C9B-D118DBC77156}" presName="rootComposite" presStyleCnt="0"/>
      <dgm:spPr/>
    </dgm:pt>
    <dgm:pt modelId="{9280978B-3AC2-A84D-8EC0-A4DED9025ACE}" type="pres">
      <dgm:prSet presAssocID="{EC67F45C-CE34-5F43-8C9B-D118DBC77156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51D53CE-E05F-4648-BA08-15012E64EA19}" type="pres">
      <dgm:prSet presAssocID="{EC67F45C-CE34-5F43-8C9B-D118DBC77156}" presName="rootConnector" presStyleLbl="node2" presStyleIdx="0" presStyleCnt="2"/>
      <dgm:spPr/>
      <dgm:t>
        <a:bodyPr/>
        <a:lstStyle/>
        <a:p>
          <a:endParaRPr lang="en-US"/>
        </a:p>
      </dgm:t>
    </dgm:pt>
    <dgm:pt modelId="{276FD65D-6DC5-FE45-BD43-1473C80F39A4}" type="pres">
      <dgm:prSet presAssocID="{EC67F45C-CE34-5F43-8C9B-D118DBC77156}" presName="hierChild4" presStyleCnt="0"/>
      <dgm:spPr/>
    </dgm:pt>
    <dgm:pt modelId="{8D28EE03-33D7-B542-B5A9-A70BA321DBC0}" type="pres">
      <dgm:prSet presAssocID="{EC67F45C-CE34-5F43-8C9B-D118DBC77156}" presName="hierChild5" presStyleCnt="0"/>
      <dgm:spPr/>
    </dgm:pt>
    <dgm:pt modelId="{8C4385B1-E500-CC40-9DF2-B7643E7A69C7}" type="pres">
      <dgm:prSet presAssocID="{83738DE3-0EC6-C54E-9748-B7FA42A1F360}" presName="Name37" presStyleLbl="parChTrans1D2" presStyleIdx="1" presStyleCnt="2"/>
      <dgm:spPr/>
      <dgm:t>
        <a:bodyPr/>
        <a:lstStyle/>
        <a:p>
          <a:endParaRPr lang="en-US"/>
        </a:p>
      </dgm:t>
    </dgm:pt>
    <dgm:pt modelId="{238E3DF9-C2A1-7843-9431-080B5CDDF058}" type="pres">
      <dgm:prSet presAssocID="{99C80694-5318-974F-B773-DD30F4AF5560}" presName="hierRoot2" presStyleCnt="0">
        <dgm:presLayoutVars>
          <dgm:hierBranch val="init"/>
        </dgm:presLayoutVars>
      </dgm:prSet>
      <dgm:spPr/>
    </dgm:pt>
    <dgm:pt modelId="{F19ECBF7-506C-6C48-93AB-BFD396068D68}" type="pres">
      <dgm:prSet presAssocID="{99C80694-5318-974F-B773-DD30F4AF5560}" presName="rootComposite" presStyleCnt="0"/>
      <dgm:spPr/>
    </dgm:pt>
    <dgm:pt modelId="{CCC5D9DE-41A6-AE4D-8800-00CE2DB400D5}" type="pres">
      <dgm:prSet presAssocID="{99C80694-5318-974F-B773-DD30F4AF5560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5407E08-2E1A-C34C-A9D3-5F8ED4967A6E}" type="pres">
      <dgm:prSet presAssocID="{99C80694-5318-974F-B773-DD30F4AF5560}" presName="rootConnector" presStyleLbl="node2" presStyleIdx="1" presStyleCnt="2"/>
      <dgm:spPr/>
      <dgm:t>
        <a:bodyPr/>
        <a:lstStyle/>
        <a:p>
          <a:endParaRPr lang="en-US"/>
        </a:p>
      </dgm:t>
    </dgm:pt>
    <dgm:pt modelId="{A45032F0-D275-F340-AC2E-75B2B86C9240}" type="pres">
      <dgm:prSet presAssocID="{99C80694-5318-974F-B773-DD30F4AF5560}" presName="hierChild4" presStyleCnt="0"/>
      <dgm:spPr/>
    </dgm:pt>
    <dgm:pt modelId="{9D3BA579-B744-004C-A1AF-8524ED6E96DE}" type="pres">
      <dgm:prSet presAssocID="{6FDB40F4-C070-634E-92EF-45305EE06B7B}" presName="Name37" presStyleLbl="parChTrans1D3" presStyleIdx="0" presStyleCnt="2"/>
      <dgm:spPr/>
      <dgm:t>
        <a:bodyPr/>
        <a:lstStyle/>
        <a:p>
          <a:endParaRPr lang="en-US"/>
        </a:p>
      </dgm:t>
    </dgm:pt>
    <dgm:pt modelId="{0CAA9D70-6FE7-CE49-B7AD-A486FF3025A6}" type="pres">
      <dgm:prSet presAssocID="{9A9FABB2-6880-C947-9148-5D10C2AC6316}" presName="hierRoot2" presStyleCnt="0">
        <dgm:presLayoutVars>
          <dgm:hierBranch val="init"/>
        </dgm:presLayoutVars>
      </dgm:prSet>
      <dgm:spPr/>
    </dgm:pt>
    <dgm:pt modelId="{A65B0A03-4950-954D-9129-082B2E9A10CB}" type="pres">
      <dgm:prSet presAssocID="{9A9FABB2-6880-C947-9148-5D10C2AC6316}" presName="rootComposite" presStyleCnt="0"/>
      <dgm:spPr/>
    </dgm:pt>
    <dgm:pt modelId="{8B79FE7D-980D-5D49-855B-649BDB742C48}" type="pres">
      <dgm:prSet presAssocID="{9A9FABB2-6880-C947-9148-5D10C2AC6316}" presName="rootText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0007278-6684-074C-9774-3D8239C5E586}" type="pres">
      <dgm:prSet presAssocID="{9A9FABB2-6880-C947-9148-5D10C2AC6316}" presName="rootConnector" presStyleLbl="node3" presStyleIdx="0" presStyleCnt="2"/>
      <dgm:spPr/>
      <dgm:t>
        <a:bodyPr/>
        <a:lstStyle/>
        <a:p>
          <a:endParaRPr lang="en-US"/>
        </a:p>
      </dgm:t>
    </dgm:pt>
    <dgm:pt modelId="{6F00D9AB-3B63-B44A-B41C-23A561897646}" type="pres">
      <dgm:prSet presAssocID="{9A9FABB2-6880-C947-9148-5D10C2AC6316}" presName="hierChild4" presStyleCnt="0"/>
      <dgm:spPr/>
    </dgm:pt>
    <dgm:pt modelId="{F1D5CAA1-7AF5-1246-9F1C-D34F24131DC0}" type="pres">
      <dgm:prSet presAssocID="{9A9FABB2-6880-C947-9148-5D10C2AC6316}" presName="hierChild5" presStyleCnt="0"/>
      <dgm:spPr/>
    </dgm:pt>
    <dgm:pt modelId="{0E6981E1-0680-E545-88BA-605034EEAD7F}" type="pres">
      <dgm:prSet presAssocID="{FFBE23A6-C0CE-4C4E-8203-E2D4DBF95A21}" presName="Name37" presStyleLbl="parChTrans1D3" presStyleIdx="1" presStyleCnt="2"/>
      <dgm:spPr/>
      <dgm:t>
        <a:bodyPr/>
        <a:lstStyle/>
        <a:p>
          <a:endParaRPr lang="en-US"/>
        </a:p>
      </dgm:t>
    </dgm:pt>
    <dgm:pt modelId="{93618032-6246-5E47-B45C-8CF04F55D3F6}" type="pres">
      <dgm:prSet presAssocID="{9EC7074D-DCBF-6E41-B1E9-275469FA3083}" presName="hierRoot2" presStyleCnt="0">
        <dgm:presLayoutVars>
          <dgm:hierBranch val="init"/>
        </dgm:presLayoutVars>
      </dgm:prSet>
      <dgm:spPr/>
    </dgm:pt>
    <dgm:pt modelId="{2A61161C-35B2-B34B-AF40-A27259C70CB6}" type="pres">
      <dgm:prSet presAssocID="{9EC7074D-DCBF-6E41-B1E9-275469FA3083}" presName="rootComposite" presStyleCnt="0"/>
      <dgm:spPr/>
    </dgm:pt>
    <dgm:pt modelId="{06FBADB0-0D62-4347-9C51-76591909F94D}" type="pres">
      <dgm:prSet presAssocID="{9EC7074D-DCBF-6E41-B1E9-275469FA3083}" presName="rootText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C0052EF-F80A-5C42-BD06-C7A5A65DDDFD}" type="pres">
      <dgm:prSet presAssocID="{9EC7074D-DCBF-6E41-B1E9-275469FA3083}" presName="rootConnector" presStyleLbl="node3" presStyleIdx="1" presStyleCnt="2"/>
      <dgm:spPr/>
      <dgm:t>
        <a:bodyPr/>
        <a:lstStyle/>
        <a:p>
          <a:endParaRPr lang="en-US"/>
        </a:p>
      </dgm:t>
    </dgm:pt>
    <dgm:pt modelId="{64B8374F-33C5-4F4F-9C91-BB1065A38A2E}" type="pres">
      <dgm:prSet presAssocID="{9EC7074D-DCBF-6E41-B1E9-275469FA3083}" presName="hierChild4" presStyleCnt="0"/>
      <dgm:spPr/>
    </dgm:pt>
    <dgm:pt modelId="{D2C6677A-30D8-8646-A309-D9E744BA450C}" type="pres">
      <dgm:prSet presAssocID="{9EC7074D-DCBF-6E41-B1E9-275469FA3083}" presName="hierChild5" presStyleCnt="0"/>
      <dgm:spPr/>
    </dgm:pt>
    <dgm:pt modelId="{307DD277-7A3D-7945-9050-C15BC984F75F}" type="pres">
      <dgm:prSet presAssocID="{99C80694-5318-974F-B773-DD30F4AF5560}" presName="hierChild5" presStyleCnt="0"/>
      <dgm:spPr/>
    </dgm:pt>
    <dgm:pt modelId="{2A322465-7CC4-9D46-A967-D9106A6617E6}" type="pres">
      <dgm:prSet presAssocID="{15612F44-E3BF-FA4C-B6D3-661559900B10}" presName="hierChild3" presStyleCnt="0"/>
      <dgm:spPr/>
    </dgm:pt>
  </dgm:ptLst>
  <dgm:cxnLst>
    <dgm:cxn modelId="{AD735E35-5998-6B4A-A2B3-EB3E68E6B58C}" type="presOf" srcId="{99C80694-5318-974F-B773-DD30F4AF5560}" destId="{D5407E08-2E1A-C34C-A9D3-5F8ED4967A6E}" srcOrd="1" destOrd="0" presId="urn:microsoft.com/office/officeart/2005/8/layout/orgChart1"/>
    <dgm:cxn modelId="{1075BB74-42DF-4948-93AF-D9A402529CCA}" type="presOf" srcId="{15612F44-E3BF-FA4C-B6D3-661559900B10}" destId="{4FBBED54-25DB-654F-A481-36C9FB049224}" srcOrd="0" destOrd="0" presId="urn:microsoft.com/office/officeart/2005/8/layout/orgChart1"/>
    <dgm:cxn modelId="{67DB7BD3-BAD8-0647-8DA1-F3D71159D6BA}" type="presOf" srcId="{15612F44-E3BF-FA4C-B6D3-661559900B10}" destId="{35DF11FD-9369-0848-AA6D-DDA585AAD815}" srcOrd="1" destOrd="0" presId="urn:microsoft.com/office/officeart/2005/8/layout/orgChart1"/>
    <dgm:cxn modelId="{B8977B96-5AD2-EE45-9C82-B6A90F4F6F29}" srcId="{15612F44-E3BF-FA4C-B6D3-661559900B10}" destId="{99C80694-5318-974F-B773-DD30F4AF5560}" srcOrd="1" destOrd="0" parTransId="{83738DE3-0EC6-C54E-9748-B7FA42A1F360}" sibTransId="{11515148-4C69-674F-B24E-07D8A6356AC3}"/>
    <dgm:cxn modelId="{ACD3B8FA-41E1-0943-9D9A-4D8164A1BEF0}" type="presOf" srcId="{9EC7074D-DCBF-6E41-B1E9-275469FA3083}" destId="{5C0052EF-F80A-5C42-BD06-C7A5A65DDDFD}" srcOrd="1" destOrd="0" presId="urn:microsoft.com/office/officeart/2005/8/layout/orgChart1"/>
    <dgm:cxn modelId="{8F5311AF-310C-404F-9658-5868D5262B15}" srcId="{99F9928C-065B-4C4A-8DAE-200F3DA1B7FD}" destId="{15612F44-E3BF-FA4C-B6D3-661559900B10}" srcOrd="0" destOrd="0" parTransId="{4669AEEE-F3AB-9943-962B-FBF2FF76CF0B}" sibTransId="{52CEF45B-3FEB-C544-9B5C-90EA5154E7C1}"/>
    <dgm:cxn modelId="{F6D2FF0D-4711-5E44-9ED0-D6B43976D528}" type="presOf" srcId="{83738DE3-0EC6-C54E-9748-B7FA42A1F360}" destId="{8C4385B1-E500-CC40-9DF2-B7643E7A69C7}" srcOrd="0" destOrd="0" presId="urn:microsoft.com/office/officeart/2005/8/layout/orgChart1"/>
    <dgm:cxn modelId="{B1AC16E3-D16D-994C-826D-13FB5EE11509}" type="presOf" srcId="{FFBE23A6-C0CE-4C4E-8203-E2D4DBF95A21}" destId="{0E6981E1-0680-E545-88BA-605034EEAD7F}" srcOrd="0" destOrd="0" presId="urn:microsoft.com/office/officeart/2005/8/layout/orgChart1"/>
    <dgm:cxn modelId="{ABD3FA66-8B91-7444-BC73-6CA703FBC62B}" type="presOf" srcId="{9EC7074D-DCBF-6E41-B1E9-275469FA3083}" destId="{06FBADB0-0D62-4347-9C51-76591909F94D}" srcOrd="0" destOrd="0" presId="urn:microsoft.com/office/officeart/2005/8/layout/orgChart1"/>
    <dgm:cxn modelId="{F6105B45-F2B6-2244-964F-33D58C4C32ED}" srcId="{15612F44-E3BF-FA4C-B6D3-661559900B10}" destId="{EC67F45C-CE34-5F43-8C9B-D118DBC77156}" srcOrd="0" destOrd="0" parTransId="{75DF6518-9375-8A46-81A2-1426F1B0015E}" sibTransId="{DA147586-6AB3-2B46-9709-2EAC09D87BBC}"/>
    <dgm:cxn modelId="{05072C06-4BEC-6C44-8B52-95AE0E583333}" type="presOf" srcId="{99C80694-5318-974F-B773-DD30F4AF5560}" destId="{CCC5D9DE-41A6-AE4D-8800-00CE2DB400D5}" srcOrd="0" destOrd="0" presId="urn:microsoft.com/office/officeart/2005/8/layout/orgChart1"/>
    <dgm:cxn modelId="{3BD347AA-8ABD-5042-8890-D3D9327AC1B0}" type="presOf" srcId="{99F9928C-065B-4C4A-8DAE-200F3DA1B7FD}" destId="{058E5578-AFAC-7D4E-AD10-F3E402150122}" srcOrd="0" destOrd="0" presId="urn:microsoft.com/office/officeart/2005/8/layout/orgChart1"/>
    <dgm:cxn modelId="{C119C08D-C509-1D4B-9AF2-9BFB28B58871}" type="presOf" srcId="{9A9FABB2-6880-C947-9148-5D10C2AC6316}" destId="{8B79FE7D-980D-5D49-855B-649BDB742C48}" srcOrd="0" destOrd="0" presId="urn:microsoft.com/office/officeart/2005/8/layout/orgChart1"/>
    <dgm:cxn modelId="{0D5B2726-383E-3042-872D-C0C60E0B4589}" type="presOf" srcId="{6FDB40F4-C070-634E-92EF-45305EE06B7B}" destId="{9D3BA579-B744-004C-A1AF-8524ED6E96DE}" srcOrd="0" destOrd="0" presId="urn:microsoft.com/office/officeart/2005/8/layout/orgChart1"/>
    <dgm:cxn modelId="{3D0F6F3C-D6C7-3D48-96B2-FC0CCCE65EDF}" srcId="{99C80694-5318-974F-B773-DD30F4AF5560}" destId="{9EC7074D-DCBF-6E41-B1E9-275469FA3083}" srcOrd="1" destOrd="0" parTransId="{FFBE23A6-C0CE-4C4E-8203-E2D4DBF95A21}" sibTransId="{010D0DBC-3075-A240-B522-FE7E58B86827}"/>
    <dgm:cxn modelId="{D1D2C541-C3FD-304E-A089-A15DE566A142}" type="presOf" srcId="{EC67F45C-CE34-5F43-8C9B-D118DBC77156}" destId="{9280978B-3AC2-A84D-8EC0-A4DED9025ACE}" srcOrd="0" destOrd="0" presId="urn:microsoft.com/office/officeart/2005/8/layout/orgChart1"/>
    <dgm:cxn modelId="{2EE41A6F-4356-FD49-B17A-B609580F8013}" srcId="{99C80694-5318-974F-B773-DD30F4AF5560}" destId="{9A9FABB2-6880-C947-9148-5D10C2AC6316}" srcOrd="0" destOrd="0" parTransId="{6FDB40F4-C070-634E-92EF-45305EE06B7B}" sibTransId="{1BB8522E-47AF-7247-A043-38A8A48622D2}"/>
    <dgm:cxn modelId="{41712FF8-C8C2-A14D-BE74-76B1A6D2CA39}" type="presOf" srcId="{75DF6518-9375-8A46-81A2-1426F1B0015E}" destId="{0F8094D8-B940-5842-9625-C7D8BB2095D0}" srcOrd="0" destOrd="0" presId="urn:microsoft.com/office/officeart/2005/8/layout/orgChart1"/>
    <dgm:cxn modelId="{0CA5A2B9-0A97-9B44-BCE5-310976BC7EF6}" type="presOf" srcId="{9A9FABB2-6880-C947-9148-5D10C2AC6316}" destId="{40007278-6684-074C-9774-3D8239C5E586}" srcOrd="1" destOrd="0" presId="urn:microsoft.com/office/officeart/2005/8/layout/orgChart1"/>
    <dgm:cxn modelId="{DF6B380B-D65C-7E4E-896C-3D7A18EE78DB}" type="presOf" srcId="{EC67F45C-CE34-5F43-8C9B-D118DBC77156}" destId="{651D53CE-E05F-4648-BA08-15012E64EA19}" srcOrd="1" destOrd="0" presId="urn:microsoft.com/office/officeart/2005/8/layout/orgChart1"/>
    <dgm:cxn modelId="{5607DA18-AFB2-BA42-975C-9A7AD9550771}" type="presParOf" srcId="{058E5578-AFAC-7D4E-AD10-F3E402150122}" destId="{8E6DD732-9BFF-8348-986A-895A9F3A7759}" srcOrd="0" destOrd="0" presId="urn:microsoft.com/office/officeart/2005/8/layout/orgChart1"/>
    <dgm:cxn modelId="{23DB7DB7-EF1E-604F-9A26-ACAAEB82B1EB}" type="presParOf" srcId="{8E6DD732-9BFF-8348-986A-895A9F3A7759}" destId="{A4526A7F-BDD2-B049-A940-1E644C864348}" srcOrd="0" destOrd="0" presId="urn:microsoft.com/office/officeart/2005/8/layout/orgChart1"/>
    <dgm:cxn modelId="{5588731E-04BC-B648-A830-C11981AD0941}" type="presParOf" srcId="{A4526A7F-BDD2-B049-A940-1E644C864348}" destId="{4FBBED54-25DB-654F-A481-36C9FB049224}" srcOrd="0" destOrd="0" presId="urn:microsoft.com/office/officeart/2005/8/layout/orgChart1"/>
    <dgm:cxn modelId="{ECD25159-6999-4047-B1E8-7CCF87B67ECE}" type="presParOf" srcId="{A4526A7F-BDD2-B049-A940-1E644C864348}" destId="{35DF11FD-9369-0848-AA6D-DDA585AAD815}" srcOrd="1" destOrd="0" presId="urn:microsoft.com/office/officeart/2005/8/layout/orgChart1"/>
    <dgm:cxn modelId="{BDA27A46-6743-CB48-B763-B89ACED148AC}" type="presParOf" srcId="{8E6DD732-9BFF-8348-986A-895A9F3A7759}" destId="{43F8DD9C-E74E-0742-9093-C6C82EFBE380}" srcOrd="1" destOrd="0" presId="urn:microsoft.com/office/officeart/2005/8/layout/orgChart1"/>
    <dgm:cxn modelId="{3C51397B-DC07-764C-B689-C944A574A65E}" type="presParOf" srcId="{43F8DD9C-E74E-0742-9093-C6C82EFBE380}" destId="{0F8094D8-B940-5842-9625-C7D8BB2095D0}" srcOrd="0" destOrd="0" presId="urn:microsoft.com/office/officeart/2005/8/layout/orgChart1"/>
    <dgm:cxn modelId="{6C9818E3-0B3B-F044-85CC-AB1A20DB46BF}" type="presParOf" srcId="{43F8DD9C-E74E-0742-9093-C6C82EFBE380}" destId="{6B7C6297-96CC-5149-B800-19EBE497F89A}" srcOrd="1" destOrd="0" presId="urn:microsoft.com/office/officeart/2005/8/layout/orgChart1"/>
    <dgm:cxn modelId="{E9440F3F-C002-EB44-93CE-D442B10297FA}" type="presParOf" srcId="{6B7C6297-96CC-5149-B800-19EBE497F89A}" destId="{79820BCD-96CA-5742-BDD8-3CF42213D7B0}" srcOrd="0" destOrd="0" presId="urn:microsoft.com/office/officeart/2005/8/layout/orgChart1"/>
    <dgm:cxn modelId="{24CC8EDA-61AB-2946-840C-F10C6B51729F}" type="presParOf" srcId="{79820BCD-96CA-5742-BDD8-3CF42213D7B0}" destId="{9280978B-3AC2-A84D-8EC0-A4DED9025ACE}" srcOrd="0" destOrd="0" presId="urn:microsoft.com/office/officeart/2005/8/layout/orgChart1"/>
    <dgm:cxn modelId="{3F00C005-45CE-AD4F-9185-A08629260927}" type="presParOf" srcId="{79820BCD-96CA-5742-BDD8-3CF42213D7B0}" destId="{651D53CE-E05F-4648-BA08-15012E64EA19}" srcOrd="1" destOrd="0" presId="urn:microsoft.com/office/officeart/2005/8/layout/orgChart1"/>
    <dgm:cxn modelId="{BDD80D65-10ED-2D4B-B203-A6DD500D1811}" type="presParOf" srcId="{6B7C6297-96CC-5149-B800-19EBE497F89A}" destId="{276FD65D-6DC5-FE45-BD43-1473C80F39A4}" srcOrd="1" destOrd="0" presId="urn:microsoft.com/office/officeart/2005/8/layout/orgChart1"/>
    <dgm:cxn modelId="{F303C71D-71A2-D040-88C9-175013B74AED}" type="presParOf" srcId="{6B7C6297-96CC-5149-B800-19EBE497F89A}" destId="{8D28EE03-33D7-B542-B5A9-A70BA321DBC0}" srcOrd="2" destOrd="0" presId="urn:microsoft.com/office/officeart/2005/8/layout/orgChart1"/>
    <dgm:cxn modelId="{C7C9F7D0-BD6B-7B42-AD8F-0B9DDE76DC7D}" type="presParOf" srcId="{43F8DD9C-E74E-0742-9093-C6C82EFBE380}" destId="{8C4385B1-E500-CC40-9DF2-B7643E7A69C7}" srcOrd="2" destOrd="0" presId="urn:microsoft.com/office/officeart/2005/8/layout/orgChart1"/>
    <dgm:cxn modelId="{26AD7E4F-8C8A-0A49-BB6B-EC0B7F6934DE}" type="presParOf" srcId="{43F8DD9C-E74E-0742-9093-C6C82EFBE380}" destId="{238E3DF9-C2A1-7843-9431-080B5CDDF058}" srcOrd="3" destOrd="0" presId="urn:microsoft.com/office/officeart/2005/8/layout/orgChart1"/>
    <dgm:cxn modelId="{4444FC31-49D4-364E-8BDD-94ABB996EB8B}" type="presParOf" srcId="{238E3DF9-C2A1-7843-9431-080B5CDDF058}" destId="{F19ECBF7-506C-6C48-93AB-BFD396068D68}" srcOrd="0" destOrd="0" presId="urn:microsoft.com/office/officeart/2005/8/layout/orgChart1"/>
    <dgm:cxn modelId="{503B3805-383F-1648-9297-6BEDA2D9C5AD}" type="presParOf" srcId="{F19ECBF7-506C-6C48-93AB-BFD396068D68}" destId="{CCC5D9DE-41A6-AE4D-8800-00CE2DB400D5}" srcOrd="0" destOrd="0" presId="urn:microsoft.com/office/officeart/2005/8/layout/orgChart1"/>
    <dgm:cxn modelId="{93DF9DD3-0B9E-134C-82B1-BC20D61F25FC}" type="presParOf" srcId="{F19ECBF7-506C-6C48-93AB-BFD396068D68}" destId="{D5407E08-2E1A-C34C-A9D3-5F8ED4967A6E}" srcOrd="1" destOrd="0" presId="urn:microsoft.com/office/officeart/2005/8/layout/orgChart1"/>
    <dgm:cxn modelId="{4EC67CAA-A118-284A-9683-89AB8CB610A9}" type="presParOf" srcId="{238E3DF9-C2A1-7843-9431-080B5CDDF058}" destId="{A45032F0-D275-F340-AC2E-75B2B86C9240}" srcOrd="1" destOrd="0" presId="urn:microsoft.com/office/officeart/2005/8/layout/orgChart1"/>
    <dgm:cxn modelId="{9D28BF85-8EF0-5547-AAC1-421B4CE03720}" type="presParOf" srcId="{A45032F0-D275-F340-AC2E-75B2B86C9240}" destId="{9D3BA579-B744-004C-A1AF-8524ED6E96DE}" srcOrd="0" destOrd="0" presId="urn:microsoft.com/office/officeart/2005/8/layout/orgChart1"/>
    <dgm:cxn modelId="{756C9678-5FD9-F042-9B86-153E072C02D0}" type="presParOf" srcId="{A45032F0-D275-F340-AC2E-75B2B86C9240}" destId="{0CAA9D70-6FE7-CE49-B7AD-A486FF3025A6}" srcOrd="1" destOrd="0" presId="urn:microsoft.com/office/officeart/2005/8/layout/orgChart1"/>
    <dgm:cxn modelId="{47AB4BB7-3066-0D45-940F-2D020C7F79BF}" type="presParOf" srcId="{0CAA9D70-6FE7-CE49-B7AD-A486FF3025A6}" destId="{A65B0A03-4950-954D-9129-082B2E9A10CB}" srcOrd="0" destOrd="0" presId="urn:microsoft.com/office/officeart/2005/8/layout/orgChart1"/>
    <dgm:cxn modelId="{E6D5ACB7-8896-B642-8FD6-EFC34A468193}" type="presParOf" srcId="{A65B0A03-4950-954D-9129-082B2E9A10CB}" destId="{8B79FE7D-980D-5D49-855B-649BDB742C48}" srcOrd="0" destOrd="0" presId="urn:microsoft.com/office/officeart/2005/8/layout/orgChart1"/>
    <dgm:cxn modelId="{CE969B39-3D3C-9048-BC87-027F002AB037}" type="presParOf" srcId="{A65B0A03-4950-954D-9129-082B2E9A10CB}" destId="{40007278-6684-074C-9774-3D8239C5E586}" srcOrd="1" destOrd="0" presId="urn:microsoft.com/office/officeart/2005/8/layout/orgChart1"/>
    <dgm:cxn modelId="{87C81F26-BA6A-6D4E-8D84-3F71B2DD37A7}" type="presParOf" srcId="{0CAA9D70-6FE7-CE49-B7AD-A486FF3025A6}" destId="{6F00D9AB-3B63-B44A-B41C-23A561897646}" srcOrd="1" destOrd="0" presId="urn:microsoft.com/office/officeart/2005/8/layout/orgChart1"/>
    <dgm:cxn modelId="{A7DC45DB-B81F-CA4C-B59E-ACB0A69C910A}" type="presParOf" srcId="{0CAA9D70-6FE7-CE49-B7AD-A486FF3025A6}" destId="{F1D5CAA1-7AF5-1246-9F1C-D34F24131DC0}" srcOrd="2" destOrd="0" presId="urn:microsoft.com/office/officeart/2005/8/layout/orgChart1"/>
    <dgm:cxn modelId="{DE72F45E-0050-3247-B52A-E2B9DCE7F3A4}" type="presParOf" srcId="{A45032F0-D275-F340-AC2E-75B2B86C9240}" destId="{0E6981E1-0680-E545-88BA-605034EEAD7F}" srcOrd="2" destOrd="0" presId="urn:microsoft.com/office/officeart/2005/8/layout/orgChart1"/>
    <dgm:cxn modelId="{B02B2E1A-DE2D-4F45-B525-458E783E2562}" type="presParOf" srcId="{A45032F0-D275-F340-AC2E-75B2B86C9240}" destId="{93618032-6246-5E47-B45C-8CF04F55D3F6}" srcOrd="3" destOrd="0" presId="urn:microsoft.com/office/officeart/2005/8/layout/orgChart1"/>
    <dgm:cxn modelId="{AB8D2032-A4C3-F840-9B29-6E8C02974671}" type="presParOf" srcId="{93618032-6246-5E47-B45C-8CF04F55D3F6}" destId="{2A61161C-35B2-B34B-AF40-A27259C70CB6}" srcOrd="0" destOrd="0" presId="urn:microsoft.com/office/officeart/2005/8/layout/orgChart1"/>
    <dgm:cxn modelId="{96505D39-D92C-784D-B78E-FD6DFAB70975}" type="presParOf" srcId="{2A61161C-35B2-B34B-AF40-A27259C70CB6}" destId="{06FBADB0-0D62-4347-9C51-76591909F94D}" srcOrd="0" destOrd="0" presId="urn:microsoft.com/office/officeart/2005/8/layout/orgChart1"/>
    <dgm:cxn modelId="{AB5E9587-C73B-9A4D-85CD-83359C8B9DD9}" type="presParOf" srcId="{2A61161C-35B2-B34B-AF40-A27259C70CB6}" destId="{5C0052EF-F80A-5C42-BD06-C7A5A65DDDFD}" srcOrd="1" destOrd="0" presId="urn:microsoft.com/office/officeart/2005/8/layout/orgChart1"/>
    <dgm:cxn modelId="{60123933-79B8-2D47-AB27-6A0C37AC52CC}" type="presParOf" srcId="{93618032-6246-5E47-B45C-8CF04F55D3F6}" destId="{64B8374F-33C5-4F4F-9C91-BB1065A38A2E}" srcOrd="1" destOrd="0" presId="urn:microsoft.com/office/officeart/2005/8/layout/orgChart1"/>
    <dgm:cxn modelId="{982D7079-6A6A-4648-9BC0-82F7E21A5AAA}" type="presParOf" srcId="{93618032-6246-5E47-B45C-8CF04F55D3F6}" destId="{D2C6677A-30D8-8646-A309-D9E744BA450C}" srcOrd="2" destOrd="0" presId="urn:microsoft.com/office/officeart/2005/8/layout/orgChart1"/>
    <dgm:cxn modelId="{8C9069C9-3CC3-1741-BA3F-0B4B96E5FC22}" type="presParOf" srcId="{238E3DF9-C2A1-7843-9431-080B5CDDF058}" destId="{307DD277-7A3D-7945-9050-C15BC984F75F}" srcOrd="2" destOrd="0" presId="urn:microsoft.com/office/officeart/2005/8/layout/orgChart1"/>
    <dgm:cxn modelId="{5524A554-6845-294D-8852-75D48DC34FC1}" type="presParOf" srcId="{8E6DD732-9BFF-8348-986A-895A9F3A7759}" destId="{2A322465-7CC4-9D46-A967-D9106A6617E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5F9C886-9EC2-304B-BE1E-CACC8FEC6898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7EF9369-BB40-BF49-A01D-431CBC1B4111}">
      <dgm:prSet/>
      <dgm:spPr/>
      <dgm:t>
        <a:bodyPr/>
        <a:lstStyle/>
        <a:p>
          <a:pPr rtl="0"/>
          <a:r>
            <a:rPr lang="en-US" dirty="0" smtClean="0"/>
            <a:t>Manage interface</a:t>
          </a:r>
          <a:endParaRPr lang="en-US" dirty="0"/>
        </a:p>
      </dgm:t>
    </dgm:pt>
    <dgm:pt modelId="{18B3ACC4-B4C0-3743-8C1F-59B5B52EB783}" type="parTrans" cxnId="{AF0456B0-0084-D14C-A793-730CFA466CB3}">
      <dgm:prSet/>
      <dgm:spPr/>
      <dgm:t>
        <a:bodyPr/>
        <a:lstStyle/>
        <a:p>
          <a:endParaRPr lang="en-US"/>
        </a:p>
      </dgm:t>
    </dgm:pt>
    <dgm:pt modelId="{5E8C6DE8-3B6D-6B42-BBF6-469FFAF06E88}" type="sibTrans" cxnId="{AF0456B0-0084-D14C-A793-730CFA466CB3}">
      <dgm:prSet/>
      <dgm:spPr/>
      <dgm:t>
        <a:bodyPr/>
        <a:lstStyle/>
        <a:p>
          <a:endParaRPr lang="en-US"/>
        </a:p>
      </dgm:t>
    </dgm:pt>
    <dgm:pt modelId="{9ED0AC07-59AD-2F43-9005-08BE46C601CB}">
      <dgm:prSet/>
      <dgm:spPr/>
      <dgm:t>
        <a:bodyPr/>
        <a:lstStyle/>
        <a:p>
          <a:pPr rtl="0"/>
          <a:r>
            <a:rPr lang="en-US" dirty="0" smtClean="0"/>
            <a:t>Orchestrate</a:t>
          </a:r>
          <a:endParaRPr lang="en-US" dirty="0"/>
        </a:p>
      </dgm:t>
    </dgm:pt>
    <dgm:pt modelId="{F21CDB9B-4474-B249-AFF8-304D3FDE8F2D}" type="parTrans" cxnId="{3F73B542-41E8-F342-A79A-691AF4E5AA4B}">
      <dgm:prSet/>
      <dgm:spPr/>
      <dgm:t>
        <a:bodyPr/>
        <a:lstStyle/>
        <a:p>
          <a:endParaRPr lang="en-US"/>
        </a:p>
      </dgm:t>
    </dgm:pt>
    <dgm:pt modelId="{134BB38A-090F-E04F-AAB7-1E8AC719B56F}" type="sibTrans" cxnId="{3F73B542-41E8-F342-A79A-691AF4E5AA4B}">
      <dgm:prSet/>
      <dgm:spPr/>
      <dgm:t>
        <a:bodyPr/>
        <a:lstStyle/>
        <a:p>
          <a:endParaRPr lang="en-US"/>
        </a:p>
      </dgm:t>
    </dgm:pt>
    <dgm:pt modelId="{E9E03F5E-1158-BB48-AB9D-FF3F6025DA8E}">
      <dgm:prSet/>
      <dgm:spPr/>
      <dgm:t>
        <a:bodyPr/>
        <a:lstStyle/>
        <a:p>
          <a:pPr rtl="0"/>
          <a:r>
            <a:rPr lang="en-US" dirty="0" smtClean="0"/>
            <a:t>Co-ordinate and manage a sequence of services. Example- workflow engines containing scripts of interaction</a:t>
          </a:r>
          <a:endParaRPr lang="en-US" dirty="0"/>
        </a:p>
      </dgm:t>
    </dgm:pt>
    <dgm:pt modelId="{394CE565-A925-804B-9B9D-E35CA44B6B80}" type="parTrans" cxnId="{54640ADF-BD97-2343-B065-0E19FFBDB751}">
      <dgm:prSet/>
      <dgm:spPr/>
      <dgm:t>
        <a:bodyPr/>
        <a:lstStyle/>
        <a:p>
          <a:endParaRPr lang="en-US"/>
        </a:p>
      </dgm:t>
    </dgm:pt>
    <dgm:pt modelId="{FD734FE3-3D49-1443-878E-E193F639D34C}" type="sibTrans" cxnId="{54640ADF-BD97-2343-B065-0E19FFBDB751}">
      <dgm:prSet/>
      <dgm:spPr/>
      <dgm:t>
        <a:bodyPr/>
        <a:lstStyle/>
        <a:p>
          <a:endParaRPr lang="en-US"/>
        </a:p>
      </dgm:t>
    </dgm:pt>
    <dgm:pt modelId="{4949EA90-EE3B-F047-8D43-30A1B37D2977}">
      <dgm:prSet/>
      <dgm:spPr/>
      <dgm:t>
        <a:bodyPr/>
        <a:lstStyle/>
        <a:p>
          <a:pPr rtl="0"/>
          <a:r>
            <a:rPr lang="en-US" dirty="0" smtClean="0"/>
            <a:t>Mediator design pattern for simple orchestration. BPEL language for complex orchestration</a:t>
          </a:r>
          <a:endParaRPr lang="en-US" dirty="0"/>
        </a:p>
      </dgm:t>
    </dgm:pt>
    <dgm:pt modelId="{1E68B14A-2C99-C942-B162-6B3790D58483}" type="parTrans" cxnId="{683474B6-26BF-4142-A07F-BBB448A55B43}">
      <dgm:prSet/>
      <dgm:spPr/>
      <dgm:t>
        <a:bodyPr/>
        <a:lstStyle/>
        <a:p>
          <a:endParaRPr lang="en-US"/>
        </a:p>
      </dgm:t>
    </dgm:pt>
    <dgm:pt modelId="{89DB0E3A-CF2A-B84C-955F-D04EB64762C3}" type="sibTrans" cxnId="{683474B6-26BF-4142-A07F-BBB448A55B43}">
      <dgm:prSet/>
      <dgm:spPr/>
      <dgm:t>
        <a:bodyPr/>
        <a:lstStyle/>
        <a:p>
          <a:endParaRPr lang="en-US"/>
        </a:p>
      </dgm:t>
    </dgm:pt>
    <dgm:pt modelId="{AADC7925-E9FF-9E4A-BEB3-E891BFE06B30}">
      <dgm:prSet/>
      <dgm:spPr/>
      <dgm:t>
        <a:bodyPr/>
        <a:lstStyle/>
        <a:p>
          <a:pPr rtl="0"/>
          <a:r>
            <a:rPr lang="en-US" dirty="0" smtClean="0"/>
            <a:t>Tailor interface</a:t>
          </a:r>
          <a:endParaRPr lang="en-US" dirty="0"/>
        </a:p>
      </dgm:t>
    </dgm:pt>
    <dgm:pt modelId="{7428F211-69A3-A942-B082-ADF4477E2227}" type="parTrans" cxnId="{1330567D-1953-FD41-83C5-C23102D08A57}">
      <dgm:prSet/>
      <dgm:spPr/>
      <dgm:t>
        <a:bodyPr/>
        <a:lstStyle/>
        <a:p>
          <a:endParaRPr lang="en-US"/>
        </a:p>
      </dgm:t>
    </dgm:pt>
    <dgm:pt modelId="{F8757C9A-2408-2146-897F-58027F3664FF}" type="sibTrans" cxnId="{1330567D-1953-FD41-83C5-C23102D08A57}">
      <dgm:prSet/>
      <dgm:spPr/>
      <dgm:t>
        <a:bodyPr/>
        <a:lstStyle/>
        <a:p>
          <a:endParaRPr lang="en-US"/>
        </a:p>
      </dgm:t>
    </dgm:pt>
    <dgm:pt modelId="{12C11B7B-38B1-BB4A-8D16-45D752B32F39}">
      <dgm:prSet/>
      <dgm:spPr/>
      <dgm:t>
        <a:bodyPr/>
        <a:lstStyle/>
        <a:p>
          <a:pPr rtl="0"/>
          <a:r>
            <a:rPr lang="en-US" dirty="0" smtClean="0"/>
            <a:t>Add or remove capability from an interface (hide a particular function from an </a:t>
          </a:r>
          <a:r>
            <a:rPr lang="en-US" dirty="0" err="1" smtClean="0"/>
            <a:t>untrusted</a:t>
          </a:r>
          <a:r>
            <a:rPr lang="en-US" dirty="0" smtClean="0"/>
            <a:t> user)</a:t>
          </a:r>
          <a:endParaRPr lang="en-US" dirty="0"/>
        </a:p>
      </dgm:t>
    </dgm:pt>
    <dgm:pt modelId="{090CE65C-8BFE-0E42-AFFF-95570BDB5666}" type="parTrans" cxnId="{B6938CD6-EB41-804D-BC5D-451C226FD4E5}">
      <dgm:prSet/>
      <dgm:spPr/>
      <dgm:t>
        <a:bodyPr/>
        <a:lstStyle/>
        <a:p>
          <a:endParaRPr lang="en-US"/>
        </a:p>
      </dgm:t>
    </dgm:pt>
    <dgm:pt modelId="{474083F6-16C6-7C40-813C-5B5E644009E9}" type="sibTrans" cxnId="{B6938CD6-EB41-804D-BC5D-451C226FD4E5}">
      <dgm:prSet/>
      <dgm:spPr/>
      <dgm:t>
        <a:bodyPr/>
        <a:lstStyle/>
        <a:p>
          <a:endParaRPr lang="en-US"/>
        </a:p>
      </dgm:t>
    </dgm:pt>
    <dgm:pt modelId="{83BA765F-7BCF-3F4B-B475-4C8A484A24D6}">
      <dgm:prSet/>
      <dgm:spPr/>
      <dgm:t>
        <a:bodyPr/>
        <a:lstStyle/>
        <a:p>
          <a:pPr rtl="0"/>
          <a:r>
            <a:rPr lang="en-US" dirty="0" smtClean="0"/>
            <a:t>Use Decorator design pattern for this purpose</a:t>
          </a:r>
          <a:endParaRPr lang="en-US" dirty="0"/>
        </a:p>
      </dgm:t>
    </dgm:pt>
    <dgm:pt modelId="{D870DC38-CBAD-F649-8E11-27D653DB6B66}" type="parTrans" cxnId="{9AEAE02B-E546-D246-AC24-29E1A0D4802B}">
      <dgm:prSet/>
      <dgm:spPr/>
      <dgm:t>
        <a:bodyPr/>
        <a:lstStyle/>
        <a:p>
          <a:endParaRPr lang="en-US"/>
        </a:p>
      </dgm:t>
    </dgm:pt>
    <dgm:pt modelId="{2BBA9591-EA86-C14D-826A-481A084944AE}" type="sibTrans" cxnId="{9AEAE02B-E546-D246-AC24-29E1A0D4802B}">
      <dgm:prSet/>
      <dgm:spPr/>
      <dgm:t>
        <a:bodyPr/>
        <a:lstStyle/>
        <a:p>
          <a:endParaRPr lang="en-US"/>
        </a:p>
      </dgm:t>
    </dgm:pt>
    <dgm:pt modelId="{E9FE4727-DA6F-3E43-8039-44D3D417F516}" type="pres">
      <dgm:prSet presAssocID="{15F9C886-9EC2-304B-BE1E-CACC8FEC6898}" presName="linear" presStyleCnt="0">
        <dgm:presLayoutVars>
          <dgm:animLvl val="lvl"/>
          <dgm:resizeHandles val="exact"/>
        </dgm:presLayoutVars>
      </dgm:prSet>
      <dgm:spPr/>
    </dgm:pt>
    <dgm:pt modelId="{21D23085-15DF-D646-A54B-71A7AF9BAA35}" type="pres">
      <dgm:prSet presAssocID="{67EF9369-BB40-BF49-A01D-431CBC1B4111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A05FD913-7D52-5F46-9510-94A336D08E61}" type="pres">
      <dgm:prSet presAssocID="{67EF9369-BB40-BF49-A01D-431CBC1B4111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96EBBF2-55AE-D943-85E0-A4AF45CAE1A1}" type="presOf" srcId="{15F9C886-9EC2-304B-BE1E-CACC8FEC6898}" destId="{E9FE4727-DA6F-3E43-8039-44D3D417F516}" srcOrd="0" destOrd="0" presId="urn:microsoft.com/office/officeart/2005/8/layout/vList2"/>
    <dgm:cxn modelId="{9F17BC14-4C85-1149-B152-838A74BDDB7D}" type="presOf" srcId="{12C11B7B-38B1-BB4A-8D16-45D752B32F39}" destId="{A05FD913-7D52-5F46-9510-94A336D08E61}" srcOrd="0" destOrd="4" presId="urn:microsoft.com/office/officeart/2005/8/layout/vList2"/>
    <dgm:cxn modelId="{62CB5550-D898-444B-AF4A-4D0D745C2CD4}" type="presOf" srcId="{83BA765F-7BCF-3F4B-B475-4C8A484A24D6}" destId="{A05FD913-7D52-5F46-9510-94A336D08E61}" srcOrd="0" destOrd="5" presId="urn:microsoft.com/office/officeart/2005/8/layout/vList2"/>
    <dgm:cxn modelId="{6AA13F98-39D5-5E4E-B0FA-676B2E7B6B13}" type="presOf" srcId="{E9E03F5E-1158-BB48-AB9D-FF3F6025DA8E}" destId="{A05FD913-7D52-5F46-9510-94A336D08E61}" srcOrd="0" destOrd="1" presId="urn:microsoft.com/office/officeart/2005/8/layout/vList2"/>
    <dgm:cxn modelId="{9AEAE02B-E546-D246-AC24-29E1A0D4802B}" srcId="{AADC7925-E9FF-9E4A-BEB3-E891BFE06B30}" destId="{83BA765F-7BCF-3F4B-B475-4C8A484A24D6}" srcOrd="1" destOrd="0" parTransId="{D870DC38-CBAD-F649-8E11-27D653DB6B66}" sibTransId="{2BBA9591-EA86-C14D-826A-481A084944AE}"/>
    <dgm:cxn modelId="{3F73B542-41E8-F342-A79A-691AF4E5AA4B}" srcId="{67EF9369-BB40-BF49-A01D-431CBC1B4111}" destId="{9ED0AC07-59AD-2F43-9005-08BE46C601CB}" srcOrd="0" destOrd="0" parTransId="{F21CDB9B-4474-B249-AFF8-304D3FDE8F2D}" sibTransId="{134BB38A-090F-E04F-AAB7-1E8AC719B56F}"/>
    <dgm:cxn modelId="{683474B6-26BF-4142-A07F-BBB448A55B43}" srcId="{9ED0AC07-59AD-2F43-9005-08BE46C601CB}" destId="{4949EA90-EE3B-F047-8D43-30A1B37D2977}" srcOrd="1" destOrd="0" parTransId="{1E68B14A-2C99-C942-B162-6B3790D58483}" sibTransId="{89DB0E3A-CF2A-B84C-955F-D04EB64762C3}"/>
    <dgm:cxn modelId="{3DF33F25-3F1D-334D-983E-E472611925B3}" type="presOf" srcId="{AADC7925-E9FF-9E4A-BEB3-E891BFE06B30}" destId="{A05FD913-7D52-5F46-9510-94A336D08E61}" srcOrd="0" destOrd="3" presId="urn:microsoft.com/office/officeart/2005/8/layout/vList2"/>
    <dgm:cxn modelId="{EA133878-172B-1B40-93AC-703B26F926A6}" type="presOf" srcId="{67EF9369-BB40-BF49-A01D-431CBC1B4111}" destId="{21D23085-15DF-D646-A54B-71A7AF9BAA35}" srcOrd="0" destOrd="0" presId="urn:microsoft.com/office/officeart/2005/8/layout/vList2"/>
    <dgm:cxn modelId="{13150595-27DF-1742-8CA5-784399A37FC9}" type="presOf" srcId="{9ED0AC07-59AD-2F43-9005-08BE46C601CB}" destId="{A05FD913-7D52-5F46-9510-94A336D08E61}" srcOrd="0" destOrd="0" presId="urn:microsoft.com/office/officeart/2005/8/layout/vList2"/>
    <dgm:cxn modelId="{54640ADF-BD97-2343-B065-0E19FFBDB751}" srcId="{9ED0AC07-59AD-2F43-9005-08BE46C601CB}" destId="{E9E03F5E-1158-BB48-AB9D-FF3F6025DA8E}" srcOrd="0" destOrd="0" parTransId="{394CE565-A925-804B-9B9D-E35CA44B6B80}" sibTransId="{FD734FE3-3D49-1443-878E-E193F639D34C}"/>
    <dgm:cxn modelId="{B6938CD6-EB41-804D-BC5D-451C226FD4E5}" srcId="{AADC7925-E9FF-9E4A-BEB3-E891BFE06B30}" destId="{12C11B7B-38B1-BB4A-8D16-45D752B32F39}" srcOrd="0" destOrd="0" parTransId="{090CE65C-8BFE-0E42-AFFF-95570BDB5666}" sibTransId="{474083F6-16C6-7C40-813C-5B5E644009E9}"/>
    <dgm:cxn modelId="{1330567D-1953-FD41-83C5-C23102D08A57}" srcId="{67EF9369-BB40-BF49-A01D-431CBC1B4111}" destId="{AADC7925-E9FF-9E4A-BEB3-E891BFE06B30}" srcOrd="1" destOrd="0" parTransId="{7428F211-69A3-A942-B082-ADF4477E2227}" sibTransId="{F8757C9A-2408-2146-897F-58027F3664FF}"/>
    <dgm:cxn modelId="{D2DD33BC-60FB-6F45-A4A6-7E85C76EE9EB}" type="presOf" srcId="{4949EA90-EE3B-F047-8D43-30A1B37D2977}" destId="{A05FD913-7D52-5F46-9510-94A336D08E61}" srcOrd="0" destOrd="2" presId="urn:microsoft.com/office/officeart/2005/8/layout/vList2"/>
    <dgm:cxn modelId="{AF0456B0-0084-D14C-A793-730CFA466CB3}" srcId="{15F9C886-9EC2-304B-BE1E-CACC8FEC6898}" destId="{67EF9369-BB40-BF49-A01D-431CBC1B4111}" srcOrd="0" destOrd="0" parTransId="{18B3ACC4-B4C0-3743-8C1F-59B5B52EB783}" sibTransId="{5E8C6DE8-3B6D-6B42-BBF6-469FFAF06E88}"/>
    <dgm:cxn modelId="{F7A43B66-B4B4-5349-9EFC-C451C4B041DF}" type="presParOf" srcId="{E9FE4727-DA6F-3E43-8039-44D3D417F516}" destId="{21D23085-15DF-D646-A54B-71A7AF9BAA35}" srcOrd="0" destOrd="0" presId="urn:microsoft.com/office/officeart/2005/8/layout/vList2"/>
    <dgm:cxn modelId="{B1271652-7045-2B46-A7D0-E711C9738365}" type="presParOf" srcId="{E9FE4727-DA6F-3E43-8039-44D3D417F516}" destId="{A05FD913-7D52-5F46-9510-94A336D08E61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AE2E3AD-68B3-4E4D-8612-B9E9961FFE4F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2F718C03-74F8-B84B-A51D-1B6E732A4003}">
      <dgm:prSet custT="1"/>
      <dgm:spPr/>
      <dgm:t>
        <a:bodyPr/>
        <a:lstStyle/>
        <a:p>
          <a:pPr rtl="0"/>
          <a:r>
            <a:rPr lang="en-US" sz="3600" dirty="0" smtClean="0"/>
            <a:t>Data Model</a:t>
          </a:r>
          <a:endParaRPr lang="en-US" sz="3600" dirty="0"/>
        </a:p>
      </dgm:t>
    </dgm:pt>
    <dgm:pt modelId="{B23E8FAD-3FB7-4C4B-95AD-FBF12233FC59}" type="parTrans" cxnId="{5E4A7BF5-DAC7-FD48-A80C-8A1BAA5492A5}">
      <dgm:prSet/>
      <dgm:spPr/>
      <dgm:t>
        <a:bodyPr/>
        <a:lstStyle/>
        <a:p>
          <a:endParaRPr lang="en-US" sz="2000"/>
        </a:p>
      </dgm:t>
    </dgm:pt>
    <dgm:pt modelId="{F22C332C-6852-8946-B055-0B5AE3CC29FC}" type="sibTrans" cxnId="{5E4A7BF5-DAC7-FD48-A80C-8A1BAA5492A5}">
      <dgm:prSet/>
      <dgm:spPr/>
      <dgm:t>
        <a:bodyPr/>
        <a:lstStyle/>
        <a:p>
          <a:endParaRPr lang="en-US" sz="2000"/>
        </a:p>
      </dgm:t>
    </dgm:pt>
    <dgm:pt modelId="{55CE9BB4-0550-404E-969A-19A53EB0C15E}">
      <dgm:prSet custT="1"/>
      <dgm:spPr/>
      <dgm:t>
        <a:bodyPr/>
        <a:lstStyle/>
        <a:p>
          <a:pPr rtl="0"/>
          <a:r>
            <a:rPr lang="en-US" sz="2800" dirty="0" smtClean="0"/>
            <a:t>Identify the data to be exchanged among interoperating systems</a:t>
          </a:r>
          <a:endParaRPr lang="en-US" sz="2800" dirty="0"/>
        </a:p>
      </dgm:t>
    </dgm:pt>
    <dgm:pt modelId="{28422F8F-E18C-B341-990A-E5839ECC08FD}" type="parTrans" cxnId="{E5E6C5A5-73C2-0B45-A73A-AAE7D4B2FD66}">
      <dgm:prSet/>
      <dgm:spPr/>
      <dgm:t>
        <a:bodyPr/>
        <a:lstStyle/>
        <a:p>
          <a:endParaRPr lang="en-US" sz="2000"/>
        </a:p>
      </dgm:t>
    </dgm:pt>
    <dgm:pt modelId="{6631E389-9F43-F84D-8588-36573E58681C}" type="sibTrans" cxnId="{E5E6C5A5-73C2-0B45-A73A-AAE7D4B2FD66}">
      <dgm:prSet/>
      <dgm:spPr/>
      <dgm:t>
        <a:bodyPr/>
        <a:lstStyle/>
        <a:p>
          <a:endParaRPr lang="en-US" sz="2000"/>
        </a:p>
      </dgm:t>
    </dgm:pt>
    <dgm:pt modelId="{BC8D20AA-EA99-0C47-B76F-314272CAC790}">
      <dgm:prSet custT="1"/>
      <dgm:spPr/>
      <dgm:t>
        <a:bodyPr/>
        <a:lstStyle/>
        <a:p>
          <a:pPr rtl="0"/>
          <a:r>
            <a:rPr lang="en-US" sz="2800" dirty="0" smtClean="0"/>
            <a:t>If the data can’t be exchanged due to confidentiality, plan for data transformation before exchange</a:t>
          </a:r>
          <a:endParaRPr lang="en-US" sz="2800" dirty="0"/>
        </a:p>
      </dgm:t>
    </dgm:pt>
    <dgm:pt modelId="{EB078147-9B54-B047-A4B2-EFB5BF80E048}" type="parTrans" cxnId="{8A607A2E-543A-5241-B233-BE4094D52BDF}">
      <dgm:prSet/>
      <dgm:spPr/>
      <dgm:t>
        <a:bodyPr/>
        <a:lstStyle/>
        <a:p>
          <a:endParaRPr lang="en-US" sz="2000"/>
        </a:p>
      </dgm:t>
    </dgm:pt>
    <dgm:pt modelId="{418CCBE9-8E40-4E48-BB10-BC96D84160A9}" type="sibTrans" cxnId="{8A607A2E-543A-5241-B233-BE4094D52BDF}">
      <dgm:prSet/>
      <dgm:spPr/>
      <dgm:t>
        <a:bodyPr/>
        <a:lstStyle/>
        <a:p>
          <a:endParaRPr lang="en-US" sz="2000"/>
        </a:p>
      </dgm:t>
    </dgm:pt>
    <dgm:pt modelId="{F9471C24-913A-2646-BFA9-D5B1CDB4D66E}">
      <dgm:prSet custT="1"/>
      <dgm:spPr/>
      <dgm:t>
        <a:bodyPr/>
        <a:lstStyle/>
        <a:p>
          <a:pPr rtl="0"/>
          <a:r>
            <a:rPr lang="en-US" sz="3600" dirty="0" smtClean="0"/>
            <a:t>Identification of Architectural Component</a:t>
          </a:r>
          <a:endParaRPr lang="en-US" sz="3600" dirty="0"/>
        </a:p>
      </dgm:t>
    </dgm:pt>
    <dgm:pt modelId="{E2DDF82A-4F9D-4348-A486-3CC5F343A754}" type="parTrans" cxnId="{F00AA12D-527C-5644-9D9B-D4CBF55E743A}">
      <dgm:prSet/>
      <dgm:spPr/>
      <dgm:t>
        <a:bodyPr/>
        <a:lstStyle/>
        <a:p>
          <a:endParaRPr lang="en-US" sz="2000"/>
        </a:p>
      </dgm:t>
    </dgm:pt>
    <dgm:pt modelId="{D2048CC6-B5BC-C748-B2F7-3BDAACF52F05}" type="sibTrans" cxnId="{F00AA12D-527C-5644-9D9B-D4CBF55E743A}">
      <dgm:prSet/>
      <dgm:spPr/>
      <dgm:t>
        <a:bodyPr/>
        <a:lstStyle/>
        <a:p>
          <a:endParaRPr lang="en-US" sz="2000"/>
        </a:p>
      </dgm:t>
    </dgm:pt>
    <dgm:pt modelId="{2F0C56CF-85BB-1741-8337-169F9B024C47}">
      <dgm:prSet custT="1"/>
      <dgm:spPr/>
      <dgm:t>
        <a:bodyPr/>
        <a:lstStyle/>
        <a:p>
          <a:pPr rtl="0"/>
          <a:r>
            <a:rPr lang="en-US" sz="2800" dirty="0" smtClean="0"/>
            <a:t>The components that are going to interoperate should be available, secure, meet performance SLA (consider design-checklists for these quality attributes)</a:t>
          </a:r>
          <a:endParaRPr lang="en-US" sz="2800" dirty="0"/>
        </a:p>
      </dgm:t>
    </dgm:pt>
    <dgm:pt modelId="{F3655E41-C86F-8C43-91A5-9B7C1CC94C2C}" type="parTrans" cxnId="{B8C1E612-578B-2F4F-A37E-19784BE369DD}">
      <dgm:prSet/>
      <dgm:spPr/>
      <dgm:t>
        <a:bodyPr/>
        <a:lstStyle/>
        <a:p>
          <a:endParaRPr lang="en-US" sz="2000"/>
        </a:p>
      </dgm:t>
    </dgm:pt>
    <dgm:pt modelId="{2FF896FB-0F09-704C-8887-DE2DD9FFE4FD}" type="sibTrans" cxnId="{B8C1E612-578B-2F4F-A37E-19784BE369DD}">
      <dgm:prSet/>
      <dgm:spPr/>
      <dgm:t>
        <a:bodyPr/>
        <a:lstStyle/>
        <a:p>
          <a:endParaRPr lang="en-US" sz="2000"/>
        </a:p>
      </dgm:t>
    </dgm:pt>
    <dgm:pt modelId="{817C6117-0011-614F-B366-D43D20FFC9DF}" type="pres">
      <dgm:prSet presAssocID="{4AE2E3AD-68B3-4E4D-8612-B9E9961FFE4F}" presName="linear" presStyleCnt="0">
        <dgm:presLayoutVars>
          <dgm:animLvl val="lvl"/>
          <dgm:resizeHandles val="exact"/>
        </dgm:presLayoutVars>
      </dgm:prSet>
      <dgm:spPr/>
    </dgm:pt>
    <dgm:pt modelId="{2BA33296-6541-7A42-8BA6-85675A05CC78}" type="pres">
      <dgm:prSet presAssocID="{2F718C03-74F8-B84B-A51D-1B6E732A4003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CEF228E2-C7A0-9E46-A4D1-99C0DB8BA523}" type="pres">
      <dgm:prSet presAssocID="{2F718C03-74F8-B84B-A51D-1B6E732A4003}" presName="childText" presStyleLbl="revTx" presStyleIdx="0" presStyleCnt="2">
        <dgm:presLayoutVars>
          <dgm:bulletEnabled val="1"/>
        </dgm:presLayoutVars>
      </dgm:prSet>
      <dgm:spPr/>
    </dgm:pt>
    <dgm:pt modelId="{D987DE04-9FFB-2E48-92BB-A22909AE8D69}" type="pres">
      <dgm:prSet presAssocID="{F9471C24-913A-2646-BFA9-D5B1CDB4D66E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90D64F8F-8081-6345-A53C-935E9B8382EF}" type="pres">
      <dgm:prSet presAssocID="{F9471C24-913A-2646-BFA9-D5B1CDB4D66E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E4A7BF5-DAC7-FD48-A80C-8A1BAA5492A5}" srcId="{4AE2E3AD-68B3-4E4D-8612-B9E9961FFE4F}" destId="{2F718C03-74F8-B84B-A51D-1B6E732A4003}" srcOrd="0" destOrd="0" parTransId="{B23E8FAD-3FB7-4C4B-95AD-FBF12233FC59}" sibTransId="{F22C332C-6852-8946-B055-0B5AE3CC29FC}"/>
    <dgm:cxn modelId="{652F2F75-310D-7847-AFA0-03ABE2647AB3}" type="presOf" srcId="{BC8D20AA-EA99-0C47-B76F-314272CAC790}" destId="{CEF228E2-C7A0-9E46-A4D1-99C0DB8BA523}" srcOrd="0" destOrd="1" presId="urn:microsoft.com/office/officeart/2005/8/layout/vList2"/>
    <dgm:cxn modelId="{B8C1E612-578B-2F4F-A37E-19784BE369DD}" srcId="{F9471C24-913A-2646-BFA9-D5B1CDB4D66E}" destId="{2F0C56CF-85BB-1741-8337-169F9B024C47}" srcOrd="0" destOrd="0" parTransId="{F3655E41-C86F-8C43-91A5-9B7C1CC94C2C}" sibTransId="{2FF896FB-0F09-704C-8887-DE2DD9FFE4FD}"/>
    <dgm:cxn modelId="{D49651ED-66E1-6F48-A6C0-29AABA053495}" type="presOf" srcId="{2F0C56CF-85BB-1741-8337-169F9B024C47}" destId="{90D64F8F-8081-6345-A53C-935E9B8382EF}" srcOrd="0" destOrd="0" presId="urn:microsoft.com/office/officeart/2005/8/layout/vList2"/>
    <dgm:cxn modelId="{8A607A2E-543A-5241-B233-BE4094D52BDF}" srcId="{2F718C03-74F8-B84B-A51D-1B6E732A4003}" destId="{BC8D20AA-EA99-0C47-B76F-314272CAC790}" srcOrd="1" destOrd="0" parTransId="{EB078147-9B54-B047-A4B2-EFB5BF80E048}" sibTransId="{418CCBE9-8E40-4E48-BB10-BC96D84160A9}"/>
    <dgm:cxn modelId="{013BBC27-F107-0F44-8DE2-9AB1D0BDEF68}" type="presOf" srcId="{55CE9BB4-0550-404E-969A-19A53EB0C15E}" destId="{CEF228E2-C7A0-9E46-A4D1-99C0DB8BA523}" srcOrd="0" destOrd="0" presId="urn:microsoft.com/office/officeart/2005/8/layout/vList2"/>
    <dgm:cxn modelId="{F00AA12D-527C-5644-9D9B-D4CBF55E743A}" srcId="{4AE2E3AD-68B3-4E4D-8612-B9E9961FFE4F}" destId="{F9471C24-913A-2646-BFA9-D5B1CDB4D66E}" srcOrd="1" destOrd="0" parTransId="{E2DDF82A-4F9D-4348-A486-3CC5F343A754}" sibTransId="{D2048CC6-B5BC-C748-B2F7-3BDAACF52F05}"/>
    <dgm:cxn modelId="{E5E6C5A5-73C2-0B45-A73A-AAE7D4B2FD66}" srcId="{2F718C03-74F8-B84B-A51D-1B6E732A4003}" destId="{55CE9BB4-0550-404E-969A-19A53EB0C15E}" srcOrd="0" destOrd="0" parTransId="{28422F8F-E18C-B341-990A-E5839ECC08FD}" sibTransId="{6631E389-9F43-F84D-8588-36573E58681C}"/>
    <dgm:cxn modelId="{DBA6E529-A8ED-9B4A-944B-ADB09E9533EF}" type="presOf" srcId="{4AE2E3AD-68B3-4E4D-8612-B9E9961FFE4F}" destId="{817C6117-0011-614F-B366-D43D20FFC9DF}" srcOrd="0" destOrd="0" presId="urn:microsoft.com/office/officeart/2005/8/layout/vList2"/>
    <dgm:cxn modelId="{852D825E-75B7-2549-BB68-90699A13F9AE}" type="presOf" srcId="{2F718C03-74F8-B84B-A51D-1B6E732A4003}" destId="{2BA33296-6541-7A42-8BA6-85675A05CC78}" srcOrd="0" destOrd="0" presId="urn:microsoft.com/office/officeart/2005/8/layout/vList2"/>
    <dgm:cxn modelId="{80786FBE-91A7-F348-B8AA-DD86645C0BB5}" type="presOf" srcId="{F9471C24-913A-2646-BFA9-D5B1CDB4D66E}" destId="{D987DE04-9FFB-2E48-92BB-A22909AE8D69}" srcOrd="0" destOrd="0" presId="urn:microsoft.com/office/officeart/2005/8/layout/vList2"/>
    <dgm:cxn modelId="{847F6723-44DE-F24F-BD0F-C2A1CCB1896B}" type="presParOf" srcId="{817C6117-0011-614F-B366-D43D20FFC9DF}" destId="{2BA33296-6541-7A42-8BA6-85675A05CC78}" srcOrd="0" destOrd="0" presId="urn:microsoft.com/office/officeart/2005/8/layout/vList2"/>
    <dgm:cxn modelId="{5A0C3578-6F6D-1443-B739-605EEC79C55E}" type="presParOf" srcId="{817C6117-0011-614F-B366-D43D20FFC9DF}" destId="{CEF228E2-C7A0-9E46-A4D1-99C0DB8BA523}" srcOrd="1" destOrd="0" presId="urn:microsoft.com/office/officeart/2005/8/layout/vList2"/>
    <dgm:cxn modelId="{28D16848-BE48-A043-9A5C-264A1302CC31}" type="presParOf" srcId="{817C6117-0011-614F-B366-D43D20FFC9DF}" destId="{D987DE04-9FFB-2E48-92BB-A22909AE8D69}" srcOrd="2" destOrd="0" presId="urn:microsoft.com/office/officeart/2005/8/layout/vList2"/>
    <dgm:cxn modelId="{1C0EFB90-5EA6-6147-A138-97704CB243C5}" type="presParOf" srcId="{817C6117-0011-614F-B366-D43D20FFC9DF}" destId="{90D64F8F-8081-6345-A53C-935E9B8382E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2E93204-F22F-4F46-A2F4-B09ABE8A41C5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D1E58D6E-6AA9-1140-A134-596A952C58EF}">
      <dgm:prSet custT="1"/>
      <dgm:spPr/>
      <dgm:t>
        <a:bodyPr/>
        <a:lstStyle/>
        <a:p>
          <a:pPr rtl="0"/>
          <a:r>
            <a:rPr lang="en-US" sz="2800" dirty="0" smtClean="0"/>
            <a:t>Resource Management</a:t>
          </a:r>
          <a:endParaRPr lang="en-US" sz="2800" dirty="0"/>
        </a:p>
      </dgm:t>
    </dgm:pt>
    <dgm:pt modelId="{F243D88E-3C2C-8B4A-8458-547149D71945}" type="parTrans" cxnId="{1D9F102B-A39B-6C46-9A13-693ABA9DAFCC}">
      <dgm:prSet/>
      <dgm:spPr/>
      <dgm:t>
        <a:bodyPr/>
        <a:lstStyle/>
        <a:p>
          <a:endParaRPr lang="en-US" sz="2000"/>
        </a:p>
      </dgm:t>
    </dgm:pt>
    <dgm:pt modelId="{0E99A48A-8409-A74A-AF41-E8F43B1154E8}" type="sibTrans" cxnId="{1D9F102B-A39B-6C46-9A13-693ABA9DAFCC}">
      <dgm:prSet/>
      <dgm:spPr/>
      <dgm:t>
        <a:bodyPr/>
        <a:lstStyle/>
        <a:p>
          <a:endParaRPr lang="en-US" sz="2000"/>
        </a:p>
      </dgm:t>
    </dgm:pt>
    <dgm:pt modelId="{E3E618BC-752B-A64F-B5DD-FF90AA7B195E}">
      <dgm:prSet custT="1"/>
      <dgm:spPr/>
      <dgm:t>
        <a:bodyPr/>
        <a:lstStyle/>
        <a:p>
          <a:pPr rtl="0"/>
          <a:r>
            <a:rPr lang="en-US" sz="2400" dirty="0" smtClean="0"/>
            <a:t>Ensure that system resources are not exhausted (flood of request shouldn’t deny a legitimate user)</a:t>
          </a:r>
          <a:endParaRPr lang="en-US" sz="2400" dirty="0"/>
        </a:p>
      </dgm:t>
    </dgm:pt>
    <dgm:pt modelId="{CFAB2DFA-84DF-6045-AD20-2E7374CBFEE1}" type="parTrans" cxnId="{63A5A732-FB67-C642-8FA2-751270AAB02A}">
      <dgm:prSet/>
      <dgm:spPr/>
      <dgm:t>
        <a:bodyPr/>
        <a:lstStyle/>
        <a:p>
          <a:endParaRPr lang="en-US" sz="2000"/>
        </a:p>
      </dgm:t>
    </dgm:pt>
    <dgm:pt modelId="{05585E39-A9A1-9D4C-89A3-EAF219612D08}" type="sibTrans" cxnId="{63A5A732-FB67-C642-8FA2-751270AAB02A}">
      <dgm:prSet/>
      <dgm:spPr/>
      <dgm:t>
        <a:bodyPr/>
        <a:lstStyle/>
        <a:p>
          <a:endParaRPr lang="en-US" sz="2000"/>
        </a:p>
      </dgm:t>
    </dgm:pt>
    <dgm:pt modelId="{746A0014-600F-9647-A208-A1322EECEC6C}">
      <dgm:prSet custT="1"/>
      <dgm:spPr/>
      <dgm:t>
        <a:bodyPr/>
        <a:lstStyle/>
        <a:p>
          <a:pPr rtl="0"/>
          <a:r>
            <a:rPr lang="en-US" sz="2400" dirty="0" smtClean="0"/>
            <a:t>Consider communication load</a:t>
          </a:r>
          <a:endParaRPr lang="en-US" sz="2400" dirty="0"/>
        </a:p>
      </dgm:t>
    </dgm:pt>
    <dgm:pt modelId="{FFB7F1CF-9DAF-E84D-93A9-791509472894}" type="parTrans" cxnId="{7CE47F9F-8C7A-FB47-A93D-F644CE85DC66}">
      <dgm:prSet/>
      <dgm:spPr/>
      <dgm:t>
        <a:bodyPr/>
        <a:lstStyle/>
        <a:p>
          <a:endParaRPr lang="en-US" sz="2000"/>
        </a:p>
      </dgm:t>
    </dgm:pt>
    <dgm:pt modelId="{336E8FA2-4863-3149-8767-C639A98DABCD}" type="sibTrans" cxnId="{7CE47F9F-8C7A-FB47-A93D-F644CE85DC66}">
      <dgm:prSet/>
      <dgm:spPr/>
      <dgm:t>
        <a:bodyPr/>
        <a:lstStyle/>
        <a:p>
          <a:endParaRPr lang="en-US" sz="2000"/>
        </a:p>
      </dgm:t>
    </dgm:pt>
    <dgm:pt modelId="{E827461D-C91B-4942-85C6-2B2C927CE56B}">
      <dgm:prSet custT="1"/>
      <dgm:spPr/>
      <dgm:t>
        <a:bodyPr/>
        <a:lstStyle/>
        <a:p>
          <a:pPr rtl="0"/>
          <a:r>
            <a:rPr lang="en-US" sz="2400" dirty="0" smtClean="0"/>
            <a:t>When resources are to be shared, plan for an arbitration policy</a:t>
          </a:r>
          <a:endParaRPr lang="en-US" sz="2400" dirty="0"/>
        </a:p>
      </dgm:t>
    </dgm:pt>
    <dgm:pt modelId="{47D71DFE-D9BD-CC42-8CC8-C24D947360C4}" type="parTrans" cxnId="{D268084C-D10F-F540-B2C7-83E6171D16A6}">
      <dgm:prSet/>
      <dgm:spPr/>
      <dgm:t>
        <a:bodyPr/>
        <a:lstStyle/>
        <a:p>
          <a:endParaRPr lang="en-US" sz="2000"/>
        </a:p>
      </dgm:t>
    </dgm:pt>
    <dgm:pt modelId="{317B5EBF-157F-BE44-A5CD-9937B4900103}" type="sibTrans" cxnId="{D268084C-D10F-F540-B2C7-83E6171D16A6}">
      <dgm:prSet/>
      <dgm:spPr/>
      <dgm:t>
        <a:bodyPr/>
        <a:lstStyle/>
        <a:p>
          <a:endParaRPr lang="en-US" sz="2000"/>
        </a:p>
      </dgm:t>
    </dgm:pt>
    <dgm:pt modelId="{54FF3D5B-4B68-7F4A-B4A3-FC2393A9418A}">
      <dgm:prSet custT="1"/>
      <dgm:spPr/>
      <dgm:t>
        <a:bodyPr/>
        <a:lstStyle/>
        <a:p>
          <a:pPr rtl="0"/>
          <a:r>
            <a:rPr lang="en-US" sz="2800" dirty="0" smtClean="0"/>
            <a:t>Binding Time</a:t>
          </a:r>
          <a:endParaRPr lang="en-US" sz="2800" dirty="0"/>
        </a:p>
      </dgm:t>
    </dgm:pt>
    <dgm:pt modelId="{39F9DCC2-8D20-344D-9343-B66823FC2E8C}" type="parTrans" cxnId="{66B10E71-1F6D-EE41-BF65-FDF7BED09157}">
      <dgm:prSet/>
      <dgm:spPr/>
      <dgm:t>
        <a:bodyPr/>
        <a:lstStyle/>
        <a:p>
          <a:endParaRPr lang="en-US" sz="2000"/>
        </a:p>
      </dgm:t>
    </dgm:pt>
    <dgm:pt modelId="{3B5CA7D2-CCF7-8B42-BBCB-C17D15C7F39F}" type="sibTrans" cxnId="{66B10E71-1F6D-EE41-BF65-FDF7BED09157}">
      <dgm:prSet/>
      <dgm:spPr/>
      <dgm:t>
        <a:bodyPr/>
        <a:lstStyle/>
        <a:p>
          <a:endParaRPr lang="en-US" sz="2000"/>
        </a:p>
      </dgm:t>
    </dgm:pt>
    <dgm:pt modelId="{5C4AEC9F-1EB9-6F46-A8D7-125F9D46508E}">
      <dgm:prSet custT="1"/>
      <dgm:spPr/>
      <dgm:t>
        <a:bodyPr/>
        <a:lstStyle/>
        <a:p>
          <a:pPr rtl="0"/>
          <a:r>
            <a:rPr lang="en-US" sz="2400" dirty="0" smtClean="0"/>
            <a:t>Ensure that it has the capability to bind unknown systems</a:t>
          </a:r>
          <a:endParaRPr lang="en-US" sz="2400" dirty="0"/>
        </a:p>
      </dgm:t>
    </dgm:pt>
    <dgm:pt modelId="{3CBE376E-A661-974D-BD0A-816078E2BA27}" type="parTrans" cxnId="{6ACC436D-8CAB-6F40-9FD5-F0467AFFA81A}">
      <dgm:prSet/>
      <dgm:spPr/>
      <dgm:t>
        <a:bodyPr/>
        <a:lstStyle/>
        <a:p>
          <a:endParaRPr lang="en-US" sz="2000"/>
        </a:p>
      </dgm:t>
    </dgm:pt>
    <dgm:pt modelId="{CED908C2-993E-6E4A-9C12-FF6E2D27E17E}" type="sibTrans" cxnId="{6ACC436D-8CAB-6F40-9FD5-F0467AFFA81A}">
      <dgm:prSet/>
      <dgm:spPr/>
      <dgm:t>
        <a:bodyPr/>
        <a:lstStyle/>
        <a:p>
          <a:endParaRPr lang="en-US" sz="2000"/>
        </a:p>
      </dgm:t>
    </dgm:pt>
    <dgm:pt modelId="{284C3D93-332F-044F-AA51-AB9380B71248}">
      <dgm:prSet custT="1"/>
      <dgm:spPr/>
      <dgm:t>
        <a:bodyPr/>
        <a:lstStyle/>
        <a:p>
          <a:pPr rtl="0"/>
          <a:r>
            <a:rPr lang="en-US" sz="2400" dirty="0" smtClean="0"/>
            <a:t>Ensure the proper acceptance and rejection of requests</a:t>
          </a:r>
          <a:endParaRPr lang="en-US" sz="2400" dirty="0"/>
        </a:p>
      </dgm:t>
    </dgm:pt>
    <dgm:pt modelId="{6EEBAE25-5A48-B24F-B1F8-556B0F550D38}" type="parTrans" cxnId="{F664C426-90FD-F948-8575-C1CB33D03350}">
      <dgm:prSet/>
      <dgm:spPr/>
      <dgm:t>
        <a:bodyPr/>
        <a:lstStyle/>
        <a:p>
          <a:endParaRPr lang="en-US" sz="2000"/>
        </a:p>
      </dgm:t>
    </dgm:pt>
    <dgm:pt modelId="{ECF8CFFD-7321-7B4D-8ED9-ACF356DDFB32}" type="sibTrans" cxnId="{F664C426-90FD-F948-8575-C1CB33D03350}">
      <dgm:prSet/>
      <dgm:spPr/>
      <dgm:t>
        <a:bodyPr/>
        <a:lstStyle/>
        <a:p>
          <a:endParaRPr lang="en-US" sz="2000"/>
        </a:p>
      </dgm:t>
    </dgm:pt>
    <dgm:pt modelId="{EFE37AC3-4CD4-4C45-827C-7D0C8A48FD4F}">
      <dgm:prSet custT="1"/>
      <dgm:spPr/>
      <dgm:t>
        <a:bodyPr/>
        <a:lstStyle/>
        <a:p>
          <a:pPr rtl="0"/>
          <a:r>
            <a:rPr lang="en-US" sz="2400" dirty="0" smtClean="0"/>
            <a:t>Ensure service discovery when you want to allow late binding</a:t>
          </a:r>
          <a:endParaRPr lang="en-US" sz="2400" dirty="0"/>
        </a:p>
      </dgm:t>
    </dgm:pt>
    <dgm:pt modelId="{F1F17255-ACEF-4F4B-8433-08CBA9C58AD2}" type="parTrans" cxnId="{15851461-F5CC-7044-BCF9-610137BC09C1}">
      <dgm:prSet/>
      <dgm:spPr/>
      <dgm:t>
        <a:bodyPr/>
        <a:lstStyle/>
        <a:p>
          <a:endParaRPr lang="en-US" sz="2000"/>
        </a:p>
      </dgm:t>
    </dgm:pt>
    <dgm:pt modelId="{3687E195-0465-5B44-A292-5EA32A521E65}" type="sibTrans" cxnId="{15851461-F5CC-7044-BCF9-610137BC09C1}">
      <dgm:prSet/>
      <dgm:spPr/>
      <dgm:t>
        <a:bodyPr/>
        <a:lstStyle/>
        <a:p>
          <a:endParaRPr lang="en-US" sz="2000"/>
        </a:p>
      </dgm:t>
    </dgm:pt>
    <dgm:pt modelId="{BD4EFC15-4B30-DF4F-8C25-AB5CAFF1D84A}">
      <dgm:prSet custT="1"/>
      <dgm:spPr/>
      <dgm:t>
        <a:bodyPr/>
        <a:lstStyle/>
        <a:p>
          <a:pPr rtl="0"/>
          <a:r>
            <a:rPr lang="en-US" sz="2800" dirty="0" smtClean="0"/>
            <a:t>Technology Choice</a:t>
          </a:r>
          <a:endParaRPr lang="en-US" sz="2800" dirty="0"/>
        </a:p>
      </dgm:t>
    </dgm:pt>
    <dgm:pt modelId="{B3FCD618-9281-D340-A8E9-819F856EE9FB}" type="parTrans" cxnId="{F52FABCD-50E4-3746-8EAE-116B346EAADC}">
      <dgm:prSet/>
      <dgm:spPr/>
      <dgm:t>
        <a:bodyPr/>
        <a:lstStyle/>
        <a:p>
          <a:endParaRPr lang="en-US" sz="2000"/>
        </a:p>
      </dgm:t>
    </dgm:pt>
    <dgm:pt modelId="{299DEFD9-C324-6243-968C-1FE6FD5F2EA4}" type="sibTrans" cxnId="{F52FABCD-50E4-3746-8EAE-116B346EAADC}">
      <dgm:prSet/>
      <dgm:spPr/>
      <dgm:t>
        <a:bodyPr/>
        <a:lstStyle/>
        <a:p>
          <a:endParaRPr lang="en-US" sz="2000"/>
        </a:p>
      </dgm:t>
    </dgm:pt>
    <dgm:pt modelId="{02CA904A-E852-314B-993F-A081AE2D3079}">
      <dgm:prSet custT="1"/>
      <dgm:spPr/>
      <dgm:t>
        <a:bodyPr/>
        <a:lstStyle/>
        <a:p>
          <a:pPr rtl="0"/>
          <a:r>
            <a:rPr lang="en-US" sz="2400" dirty="0" smtClean="0"/>
            <a:t>Consider technology that supports interoperability (e.g. web-services)</a:t>
          </a:r>
          <a:endParaRPr lang="en-US" sz="2400" dirty="0"/>
        </a:p>
      </dgm:t>
    </dgm:pt>
    <dgm:pt modelId="{05C48F03-A929-374A-8FE3-540E61F5B5FD}" type="parTrans" cxnId="{1D23B5C3-6527-C84C-89E9-3216B379EDF2}">
      <dgm:prSet/>
      <dgm:spPr/>
      <dgm:t>
        <a:bodyPr/>
        <a:lstStyle/>
        <a:p>
          <a:endParaRPr lang="en-US" sz="2000"/>
        </a:p>
      </dgm:t>
    </dgm:pt>
    <dgm:pt modelId="{7F217E91-629F-4840-B4E8-7A4338C7AA9F}" type="sibTrans" cxnId="{1D23B5C3-6527-C84C-89E9-3216B379EDF2}">
      <dgm:prSet/>
      <dgm:spPr/>
      <dgm:t>
        <a:bodyPr/>
        <a:lstStyle/>
        <a:p>
          <a:endParaRPr lang="en-US" sz="2000"/>
        </a:p>
      </dgm:t>
    </dgm:pt>
    <dgm:pt modelId="{102C4242-C9B4-644E-9839-419CD7CCF5D9}" type="pres">
      <dgm:prSet presAssocID="{42E93204-F22F-4F46-A2F4-B09ABE8A41C5}" presName="linear" presStyleCnt="0">
        <dgm:presLayoutVars>
          <dgm:animLvl val="lvl"/>
          <dgm:resizeHandles val="exact"/>
        </dgm:presLayoutVars>
      </dgm:prSet>
      <dgm:spPr/>
    </dgm:pt>
    <dgm:pt modelId="{258B4871-2A87-E349-ACD7-15044E4B723F}" type="pres">
      <dgm:prSet presAssocID="{D1E58D6E-6AA9-1140-A134-596A952C58EF}" presName="parentText" presStyleLbl="node1" presStyleIdx="0" presStyleCnt="3" custLinFactNeighborY="-5786">
        <dgm:presLayoutVars>
          <dgm:chMax val="0"/>
          <dgm:bulletEnabled val="1"/>
        </dgm:presLayoutVars>
      </dgm:prSet>
      <dgm:spPr/>
    </dgm:pt>
    <dgm:pt modelId="{8F02BDCB-0267-0344-AACC-58E4C4D9F642}" type="pres">
      <dgm:prSet presAssocID="{D1E58D6E-6AA9-1140-A134-596A952C58EF}" presName="childText" presStyleLbl="revTx" presStyleIdx="0" presStyleCnt="3" custLinFactNeighborY="-9510">
        <dgm:presLayoutVars>
          <dgm:bulletEnabled val="1"/>
        </dgm:presLayoutVars>
      </dgm:prSet>
      <dgm:spPr/>
    </dgm:pt>
    <dgm:pt modelId="{17DA38A8-D40E-DB4F-9242-7497628CAE2E}" type="pres">
      <dgm:prSet presAssocID="{54FF3D5B-4B68-7F4A-B4A3-FC2393A9418A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17603272-C63E-D849-9912-D35ED60695DF}" type="pres">
      <dgm:prSet presAssocID="{54FF3D5B-4B68-7F4A-B4A3-FC2393A9418A}" presName="childText" presStyleLbl="revTx" presStyleIdx="1" presStyleCnt="3">
        <dgm:presLayoutVars>
          <dgm:bulletEnabled val="1"/>
        </dgm:presLayoutVars>
      </dgm:prSet>
      <dgm:spPr/>
    </dgm:pt>
    <dgm:pt modelId="{E4A211F1-991E-FD4B-A126-19950C07C82C}" type="pres">
      <dgm:prSet presAssocID="{BD4EFC15-4B30-DF4F-8C25-AB5CAFF1D84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4D9C1B12-8F18-E84F-917B-8CCB8A77527A}" type="pres">
      <dgm:prSet presAssocID="{BD4EFC15-4B30-DF4F-8C25-AB5CAFF1D84A}" presName="childText" presStyleLbl="revTx" presStyleIdx="2" presStyleCnt="3" custLinFactNeighborY="13103">
        <dgm:presLayoutVars>
          <dgm:bulletEnabled val="1"/>
        </dgm:presLayoutVars>
      </dgm:prSet>
      <dgm:spPr/>
    </dgm:pt>
  </dgm:ptLst>
  <dgm:cxnLst>
    <dgm:cxn modelId="{63A5A732-FB67-C642-8FA2-751270AAB02A}" srcId="{D1E58D6E-6AA9-1140-A134-596A952C58EF}" destId="{E3E618BC-752B-A64F-B5DD-FF90AA7B195E}" srcOrd="0" destOrd="0" parTransId="{CFAB2DFA-84DF-6045-AD20-2E7374CBFEE1}" sibTransId="{05585E39-A9A1-9D4C-89A3-EAF219612D08}"/>
    <dgm:cxn modelId="{1D9F102B-A39B-6C46-9A13-693ABA9DAFCC}" srcId="{42E93204-F22F-4F46-A2F4-B09ABE8A41C5}" destId="{D1E58D6E-6AA9-1140-A134-596A952C58EF}" srcOrd="0" destOrd="0" parTransId="{F243D88E-3C2C-8B4A-8458-547149D71945}" sibTransId="{0E99A48A-8409-A74A-AF41-E8F43B1154E8}"/>
    <dgm:cxn modelId="{1C775939-8D74-AF4A-82D0-CC0249CAF9FE}" type="presOf" srcId="{5C4AEC9F-1EB9-6F46-A8D7-125F9D46508E}" destId="{17603272-C63E-D849-9912-D35ED60695DF}" srcOrd="0" destOrd="0" presId="urn:microsoft.com/office/officeart/2005/8/layout/vList2"/>
    <dgm:cxn modelId="{B3E1C84D-FFBA-4C4E-BCEE-86FF28EDF0A6}" type="presOf" srcId="{D1E58D6E-6AA9-1140-A134-596A952C58EF}" destId="{258B4871-2A87-E349-ACD7-15044E4B723F}" srcOrd="0" destOrd="0" presId="urn:microsoft.com/office/officeart/2005/8/layout/vList2"/>
    <dgm:cxn modelId="{7CE47F9F-8C7A-FB47-A93D-F644CE85DC66}" srcId="{D1E58D6E-6AA9-1140-A134-596A952C58EF}" destId="{746A0014-600F-9647-A208-A1322EECEC6C}" srcOrd="1" destOrd="0" parTransId="{FFB7F1CF-9DAF-E84D-93A9-791509472894}" sibTransId="{336E8FA2-4863-3149-8767-C639A98DABCD}"/>
    <dgm:cxn modelId="{D268084C-D10F-F540-B2C7-83E6171D16A6}" srcId="{D1E58D6E-6AA9-1140-A134-596A952C58EF}" destId="{E827461D-C91B-4942-85C6-2B2C927CE56B}" srcOrd="2" destOrd="0" parTransId="{47D71DFE-D9BD-CC42-8CC8-C24D947360C4}" sibTransId="{317B5EBF-157F-BE44-A5CD-9937B4900103}"/>
    <dgm:cxn modelId="{B072E59F-894B-B54A-9137-892F14E2C09D}" type="presOf" srcId="{02CA904A-E852-314B-993F-A081AE2D3079}" destId="{4D9C1B12-8F18-E84F-917B-8CCB8A77527A}" srcOrd="0" destOrd="0" presId="urn:microsoft.com/office/officeart/2005/8/layout/vList2"/>
    <dgm:cxn modelId="{C1A9550B-FE63-2048-934A-9082834BF95F}" type="presOf" srcId="{284C3D93-332F-044F-AA51-AB9380B71248}" destId="{17603272-C63E-D849-9912-D35ED60695DF}" srcOrd="0" destOrd="1" presId="urn:microsoft.com/office/officeart/2005/8/layout/vList2"/>
    <dgm:cxn modelId="{1D23B5C3-6527-C84C-89E9-3216B379EDF2}" srcId="{BD4EFC15-4B30-DF4F-8C25-AB5CAFF1D84A}" destId="{02CA904A-E852-314B-993F-A081AE2D3079}" srcOrd="0" destOrd="0" parTransId="{05C48F03-A929-374A-8FE3-540E61F5B5FD}" sibTransId="{7F217E91-629F-4840-B4E8-7A4338C7AA9F}"/>
    <dgm:cxn modelId="{F664C426-90FD-F948-8575-C1CB33D03350}" srcId="{54FF3D5B-4B68-7F4A-B4A3-FC2393A9418A}" destId="{284C3D93-332F-044F-AA51-AB9380B71248}" srcOrd="1" destOrd="0" parTransId="{6EEBAE25-5A48-B24F-B1F8-556B0F550D38}" sibTransId="{ECF8CFFD-7321-7B4D-8ED9-ACF356DDFB32}"/>
    <dgm:cxn modelId="{E302D55B-135F-E040-8F8E-F8AC63FE50DA}" type="presOf" srcId="{42E93204-F22F-4F46-A2F4-B09ABE8A41C5}" destId="{102C4242-C9B4-644E-9839-419CD7CCF5D9}" srcOrd="0" destOrd="0" presId="urn:microsoft.com/office/officeart/2005/8/layout/vList2"/>
    <dgm:cxn modelId="{C577062B-D68D-7649-8352-D4573F2B0D89}" type="presOf" srcId="{EFE37AC3-4CD4-4C45-827C-7D0C8A48FD4F}" destId="{17603272-C63E-D849-9912-D35ED60695DF}" srcOrd="0" destOrd="2" presId="urn:microsoft.com/office/officeart/2005/8/layout/vList2"/>
    <dgm:cxn modelId="{66B10E71-1F6D-EE41-BF65-FDF7BED09157}" srcId="{42E93204-F22F-4F46-A2F4-B09ABE8A41C5}" destId="{54FF3D5B-4B68-7F4A-B4A3-FC2393A9418A}" srcOrd="1" destOrd="0" parTransId="{39F9DCC2-8D20-344D-9343-B66823FC2E8C}" sibTransId="{3B5CA7D2-CCF7-8B42-BBCB-C17D15C7F39F}"/>
    <dgm:cxn modelId="{517485EA-5B3A-D24E-8729-8F453DB78D61}" type="presOf" srcId="{BD4EFC15-4B30-DF4F-8C25-AB5CAFF1D84A}" destId="{E4A211F1-991E-FD4B-A126-19950C07C82C}" srcOrd="0" destOrd="0" presId="urn:microsoft.com/office/officeart/2005/8/layout/vList2"/>
    <dgm:cxn modelId="{79DA342E-2438-C34B-BB1F-C7737E27B6A7}" type="presOf" srcId="{746A0014-600F-9647-A208-A1322EECEC6C}" destId="{8F02BDCB-0267-0344-AACC-58E4C4D9F642}" srcOrd="0" destOrd="1" presId="urn:microsoft.com/office/officeart/2005/8/layout/vList2"/>
    <dgm:cxn modelId="{A50A5866-0161-A34D-B206-E55F3127B6CF}" type="presOf" srcId="{E827461D-C91B-4942-85C6-2B2C927CE56B}" destId="{8F02BDCB-0267-0344-AACC-58E4C4D9F642}" srcOrd="0" destOrd="2" presId="urn:microsoft.com/office/officeart/2005/8/layout/vList2"/>
    <dgm:cxn modelId="{61A975FD-4857-1642-83DB-5BE6C0E10C8B}" type="presOf" srcId="{E3E618BC-752B-A64F-B5DD-FF90AA7B195E}" destId="{8F02BDCB-0267-0344-AACC-58E4C4D9F642}" srcOrd="0" destOrd="0" presId="urn:microsoft.com/office/officeart/2005/8/layout/vList2"/>
    <dgm:cxn modelId="{E9658622-F614-4F47-BCD2-8EDC05E1219B}" type="presOf" srcId="{54FF3D5B-4B68-7F4A-B4A3-FC2393A9418A}" destId="{17DA38A8-D40E-DB4F-9242-7497628CAE2E}" srcOrd="0" destOrd="0" presId="urn:microsoft.com/office/officeart/2005/8/layout/vList2"/>
    <dgm:cxn modelId="{15851461-F5CC-7044-BCF9-610137BC09C1}" srcId="{54FF3D5B-4B68-7F4A-B4A3-FC2393A9418A}" destId="{EFE37AC3-4CD4-4C45-827C-7D0C8A48FD4F}" srcOrd="2" destOrd="0" parTransId="{F1F17255-ACEF-4F4B-8433-08CBA9C58AD2}" sibTransId="{3687E195-0465-5B44-A292-5EA32A521E65}"/>
    <dgm:cxn modelId="{6ACC436D-8CAB-6F40-9FD5-F0467AFFA81A}" srcId="{54FF3D5B-4B68-7F4A-B4A3-FC2393A9418A}" destId="{5C4AEC9F-1EB9-6F46-A8D7-125F9D46508E}" srcOrd="0" destOrd="0" parTransId="{3CBE376E-A661-974D-BD0A-816078E2BA27}" sibTransId="{CED908C2-993E-6E4A-9C12-FF6E2D27E17E}"/>
    <dgm:cxn modelId="{F52FABCD-50E4-3746-8EAE-116B346EAADC}" srcId="{42E93204-F22F-4F46-A2F4-B09ABE8A41C5}" destId="{BD4EFC15-4B30-DF4F-8C25-AB5CAFF1D84A}" srcOrd="2" destOrd="0" parTransId="{B3FCD618-9281-D340-A8E9-819F856EE9FB}" sibTransId="{299DEFD9-C324-6243-968C-1FE6FD5F2EA4}"/>
    <dgm:cxn modelId="{5078F1F4-6871-DA48-A9DC-52ED8C59EACD}" type="presParOf" srcId="{102C4242-C9B4-644E-9839-419CD7CCF5D9}" destId="{258B4871-2A87-E349-ACD7-15044E4B723F}" srcOrd="0" destOrd="0" presId="urn:microsoft.com/office/officeart/2005/8/layout/vList2"/>
    <dgm:cxn modelId="{07661702-6D2A-914F-A19F-4C4CE945B9AF}" type="presParOf" srcId="{102C4242-C9B4-644E-9839-419CD7CCF5D9}" destId="{8F02BDCB-0267-0344-AACC-58E4C4D9F642}" srcOrd="1" destOrd="0" presId="urn:microsoft.com/office/officeart/2005/8/layout/vList2"/>
    <dgm:cxn modelId="{5C6C8A9E-A769-D746-918F-F7C762A8EA77}" type="presParOf" srcId="{102C4242-C9B4-644E-9839-419CD7CCF5D9}" destId="{17DA38A8-D40E-DB4F-9242-7497628CAE2E}" srcOrd="2" destOrd="0" presId="urn:microsoft.com/office/officeart/2005/8/layout/vList2"/>
    <dgm:cxn modelId="{7E5EC814-E354-5143-A625-3B499FA4D172}" type="presParOf" srcId="{102C4242-C9B4-644E-9839-419CD7CCF5D9}" destId="{17603272-C63E-D849-9912-D35ED60695DF}" srcOrd="3" destOrd="0" presId="urn:microsoft.com/office/officeart/2005/8/layout/vList2"/>
    <dgm:cxn modelId="{325E3500-1E65-F24D-9835-711B1B99C598}" type="presParOf" srcId="{102C4242-C9B4-644E-9839-419CD7CCF5D9}" destId="{E4A211F1-991E-FD4B-A126-19950C07C82C}" srcOrd="4" destOrd="0" presId="urn:microsoft.com/office/officeart/2005/8/layout/vList2"/>
    <dgm:cxn modelId="{3BD58141-9205-6F47-98D6-4B387B516210}" type="presParOf" srcId="{102C4242-C9B4-644E-9839-419CD7CCF5D9}" destId="{4D9C1B12-8F18-E84F-917B-8CCB8A77527A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E6981E1-0680-E545-88BA-605034EEAD7F}">
      <dsp:nvSpPr>
        <dsp:cNvPr id="0" name=""/>
        <dsp:cNvSpPr/>
      </dsp:nvSpPr>
      <dsp:spPr>
        <a:xfrm>
          <a:off x="4343865" y="2313964"/>
          <a:ext cx="286622" cy="22356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35651"/>
              </a:lnTo>
              <a:lnTo>
                <a:pt x="286622" y="2235651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3BA579-B744-004C-A1AF-8524ED6E96DE}">
      <dsp:nvSpPr>
        <dsp:cNvPr id="0" name=""/>
        <dsp:cNvSpPr/>
      </dsp:nvSpPr>
      <dsp:spPr>
        <a:xfrm>
          <a:off x="4343865" y="2313964"/>
          <a:ext cx="286622" cy="8789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8974"/>
              </a:lnTo>
              <a:lnTo>
                <a:pt x="286622" y="878974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4385B1-E500-CC40-9DF2-B7643E7A69C7}">
      <dsp:nvSpPr>
        <dsp:cNvPr id="0" name=""/>
        <dsp:cNvSpPr/>
      </dsp:nvSpPr>
      <dsp:spPr>
        <a:xfrm>
          <a:off x="3952148" y="957286"/>
          <a:ext cx="1156042" cy="4012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635"/>
              </a:lnTo>
              <a:lnTo>
                <a:pt x="1156042" y="200635"/>
              </a:lnTo>
              <a:lnTo>
                <a:pt x="1156042" y="40127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8094D8-B940-5842-9625-C7D8BB2095D0}">
      <dsp:nvSpPr>
        <dsp:cNvPr id="0" name=""/>
        <dsp:cNvSpPr/>
      </dsp:nvSpPr>
      <dsp:spPr>
        <a:xfrm>
          <a:off x="2796106" y="957286"/>
          <a:ext cx="1156042" cy="401270"/>
        </a:xfrm>
        <a:custGeom>
          <a:avLst/>
          <a:gdLst/>
          <a:ahLst/>
          <a:cxnLst/>
          <a:rect l="0" t="0" r="0" b="0"/>
          <a:pathLst>
            <a:path>
              <a:moveTo>
                <a:pt x="1156042" y="0"/>
              </a:moveTo>
              <a:lnTo>
                <a:pt x="1156042" y="200635"/>
              </a:lnTo>
              <a:lnTo>
                <a:pt x="0" y="200635"/>
              </a:lnTo>
              <a:lnTo>
                <a:pt x="0" y="40127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BBED54-25DB-654F-A481-36C9FB049224}">
      <dsp:nvSpPr>
        <dsp:cNvPr id="0" name=""/>
        <dsp:cNvSpPr/>
      </dsp:nvSpPr>
      <dsp:spPr>
        <a:xfrm>
          <a:off x="2996741" y="1880"/>
          <a:ext cx="1910813" cy="95540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Interoperability</a:t>
          </a:r>
          <a:endParaRPr lang="en-US" sz="2200" kern="1200" dirty="0"/>
        </a:p>
      </dsp:txBody>
      <dsp:txXfrm>
        <a:off x="2996741" y="1880"/>
        <a:ext cx="1910813" cy="955406"/>
      </dsp:txXfrm>
    </dsp:sp>
    <dsp:sp modelId="{9280978B-3AC2-A84D-8EC0-A4DED9025ACE}">
      <dsp:nvSpPr>
        <dsp:cNvPr id="0" name=""/>
        <dsp:cNvSpPr/>
      </dsp:nvSpPr>
      <dsp:spPr>
        <a:xfrm>
          <a:off x="1840699" y="1358557"/>
          <a:ext cx="1910813" cy="95540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Locate (Discover service)</a:t>
          </a:r>
          <a:endParaRPr lang="en-US" sz="2200" kern="1200" dirty="0"/>
        </a:p>
      </dsp:txBody>
      <dsp:txXfrm>
        <a:off x="1840699" y="1358557"/>
        <a:ext cx="1910813" cy="955406"/>
      </dsp:txXfrm>
    </dsp:sp>
    <dsp:sp modelId="{CCC5D9DE-41A6-AE4D-8800-00CE2DB400D5}">
      <dsp:nvSpPr>
        <dsp:cNvPr id="0" name=""/>
        <dsp:cNvSpPr/>
      </dsp:nvSpPr>
      <dsp:spPr>
        <a:xfrm>
          <a:off x="4152783" y="1358557"/>
          <a:ext cx="1910813" cy="95540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Manage interface</a:t>
          </a:r>
          <a:endParaRPr lang="en-US" sz="2200" kern="1200" dirty="0"/>
        </a:p>
      </dsp:txBody>
      <dsp:txXfrm>
        <a:off x="4152783" y="1358557"/>
        <a:ext cx="1910813" cy="955406"/>
      </dsp:txXfrm>
    </dsp:sp>
    <dsp:sp modelId="{8B79FE7D-980D-5D49-855B-649BDB742C48}">
      <dsp:nvSpPr>
        <dsp:cNvPr id="0" name=""/>
        <dsp:cNvSpPr/>
      </dsp:nvSpPr>
      <dsp:spPr>
        <a:xfrm>
          <a:off x="4630487" y="2715235"/>
          <a:ext cx="1910813" cy="95540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Orchestrate</a:t>
          </a:r>
          <a:endParaRPr lang="en-US" sz="2200" kern="1200" dirty="0"/>
        </a:p>
      </dsp:txBody>
      <dsp:txXfrm>
        <a:off x="4630487" y="2715235"/>
        <a:ext cx="1910813" cy="955406"/>
      </dsp:txXfrm>
    </dsp:sp>
    <dsp:sp modelId="{06FBADB0-0D62-4347-9C51-76591909F94D}">
      <dsp:nvSpPr>
        <dsp:cNvPr id="0" name=""/>
        <dsp:cNvSpPr/>
      </dsp:nvSpPr>
      <dsp:spPr>
        <a:xfrm>
          <a:off x="4630487" y="4071913"/>
          <a:ext cx="1910813" cy="95540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Tailor interface</a:t>
          </a:r>
          <a:endParaRPr lang="en-US" sz="2200" kern="1200" dirty="0"/>
        </a:p>
      </dsp:txBody>
      <dsp:txXfrm>
        <a:off x="4630487" y="4071913"/>
        <a:ext cx="1910813" cy="955406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1D23085-15DF-D646-A54B-71A7AF9BAA35}">
      <dsp:nvSpPr>
        <dsp:cNvPr id="0" name=""/>
        <dsp:cNvSpPr/>
      </dsp:nvSpPr>
      <dsp:spPr>
        <a:xfrm>
          <a:off x="0" y="69547"/>
          <a:ext cx="8382000" cy="79150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Manage interface</a:t>
          </a:r>
          <a:endParaRPr lang="en-US" sz="3300" kern="1200" dirty="0"/>
        </a:p>
      </dsp:txBody>
      <dsp:txXfrm>
        <a:off x="0" y="69547"/>
        <a:ext cx="8382000" cy="791505"/>
      </dsp:txXfrm>
    </dsp:sp>
    <dsp:sp modelId="{A05FD913-7D52-5F46-9510-94A336D08E61}">
      <dsp:nvSpPr>
        <dsp:cNvPr id="0" name=""/>
        <dsp:cNvSpPr/>
      </dsp:nvSpPr>
      <dsp:spPr>
        <a:xfrm>
          <a:off x="0" y="861052"/>
          <a:ext cx="8382000" cy="4098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129" tIns="41910" rIns="234696" bIns="41910" numCol="1" spcCol="1270" anchor="t" anchorCtr="0">
          <a:noAutofit/>
        </a:bodyPr>
        <a:lstStyle/>
        <a:p>
          <a:pPr marL="228600" lvl="1" indent="-228600" algn="l" defTabSz="11557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600" kern="1200" dirty="0" smtClean="0"/>
            <a:t>Orchestrate</a:t>
          </a:r>
          <a:endParaRPr lang="en-US" sz="2600" kern="1200" dirty="0"/>
        </a:p>
        <a:p>
          <a:pPr marL="457200" lvl="2" indent="-228600" algn="l" defTabSz="11557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600" kern="1200" dirty="0" smtClean="0"/>
            <a:t>Co-ordinate and manage a sequence of services. Example- workflow engines containing scripts of interaction</a:t>
          </a:r>
          <a:endParaRPr lang="en-US" sz="2600" kern="1200" dirty="0"/>
        </a:p>
        <a:p>
          <a:pPr marL="457200" lvl="2" indent="-228600" algn="l" defTabSz="11557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600" kern="1200" dirty="0" smtClean="0"/>
            <a:t>Mediator design pattern for simple orchestration. BPEL language for complex orchestration</a:t>
          </a:r>
          <a:endParaRPr lang="en-US" sz="2600" kern="1200" dirty="0"/>
        </a:p>
        <a:p>
          <a:pPr marL="228600" lvl="1" indent="-228600" algn="l" defTabSz="11557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600" kern="1200" dirty="0" smtClean="0"/>
            <a:t>Tailor interface</a:t>
          </a:r>
          <a:endParaRPr lang="en-US" sz="2600" kern="1200" dirty="0"/>
        </a:p>
        <a:p>
          <a:pPr marL="457200" lvl="2" indent="-228600" algn="l" defTabSz="11557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600" kern="1200" dirty="0" smtClean="0"/>
            <a:t>Add or remove capability from an interface (hide a particular function from an </a:t>
          </a:r>
          <a:r>
            <a:rPr lang="en-US" sz="2600" kern="1200" dirty="0" err="1" smtClean="0"/>
            <a:t>untrusted</a:t>
          </a:r>
          <a:r>
            <a:rPr lang="en-US" sz="2600" kern="1200" dirty="0" smtClean="0"/>
            <a:t> user)</a:t>
          </a:r>
          <a:endParaRPr lang="en-US" sz="2600" kern="1200" dirty="0"/>
        </a:p>
        <a:p>
          <a:pPr marL="457200" lvl="2" indent="-228600" algn="l" defTabSz="11557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600" kern="1200" dirty="0" smtClean="0"/>
            <a:t>Use Decorator design pattern for this purpose</a:t>
          </a:r>
          <a:endParaRPr lang="en-US" sz="2600" kern="1200" dirty="0"/>
        </a:p>
      </dsp:txBody>
      <dsp:txXfrm>
        <a:off x="0" y="861052"/>
        <a:ext cx="8382000" cy="409860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BA33296-6541-7A42-8BA6-85675A05CC78}">
      <dsp:nvSpPr>
        <dsp:cNvPr id="0" name=""/>
        <dsp:cNvSpPr/>
      </dsp:nvSpPr>
      <dsp:spPr>
        <a:xfrm>
          <a:off x="0" y="4949"/>
          <a:ext cx="8839200" cy="1029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Data Model</a:t>
          </a:r>
          <a:endParaRPr lang="en-US" sz="3600" kern="1200" dirty="0"/>
        </a:p>
      </dsp:txBody>
      <dsp:txXfrm>
        <a:off x="0" y="4949"/>
        <a:ext cx="8839200" cy="1029600"/>
      </dsp:txXfrm>
    </dsp:sp>
    <dsp:sp modelId="{CEF228E2-C7A0-9E46-A4D1-99C0DB8BA523}">
      <dsp:nvSpPr>
        <dsp:cNvPr id="0" name=""/>
        <dsp:cNvSpPr/>
      </dsp:nvSpPr>
      <dsp:spPr>
        <a:xfrm>
          <a:off x="0" y="1034549"/>
          <a:ext cx="8839200" cy="17077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0645" tIns="35560" rIns="199136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kern="1200" dirty="0" smtClean="0"/>
            <a:t>Identify the data to be exchanged among interoperating systems</a:t>
          </a:r>
          <a:endParaRPr lang="en-US" sz="2800" kern="1200" dirty="0"/>
        </a:p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kern="1200" dirty="0" smtClean="0"/>
            <a:t>If the data can’t be exchanged due to confidentiality, plan for data transformation before exchange</a:t>
          </a:r>
          <a:endParaRPr lang="en-US" sz="2800" kern="1200" dirty="0"/>
        </a:p>
      </dsp:txBody>
      <dsp:txXfrm>
        <a:off x="0" y="1034549"/>
        <a:ext cx="8839200" cy="1707750"/>
      </dsp:txXfrm>
    </dsp:sp>
    <dsp:sp modelId="{D987DE04-9FFB-2E48-92BB-A22909AE8D69}">
      <dsp:nvSpPr>
        <dsp:cNvPr id="0" name=""/>
        <dsp:cNvSpPr/>
      </dsp:nvSpPr>
      <dsp:spPr>
        <a:xfrm>
          <a:off x="0" y="2742300"/>
          <a:ext cx="8839200" cy="1029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dentification of Architectural Component</a:t>
          </a:r>
          <a:endParaRPr lang="en-US" sz="3600" kern="1200" dirty="0"/>
        </a:p>
      </dsp:txBody>
      <dsp:txXfrm>
        <a:off x="0" y="2742300"/>
        <a:ext cx="8839200" cy="1029600"/>
      </dsp:txXfrm>
    </dsp:sp>
    <dsp:sp modelId="{90D64F8F-8081-6345-A53C-935E9B8382EF}">
      <dsp:nvSpPr>
        <dsp:cNvPr id="0" name=""/>
        <dsp:cNvSpPr/>
      </dsp:nvSpPr>
      <dsp:spPr>
        <a:xfrm>
          <a:off x="0" y="3771900"/>
          <a:ext cx="8839200" cy="12523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0645" tIns="35560" rIns="199136" bIns="35560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800" kern="1200" dirty="0" smtClean="0"/>
            <a:t>The components that are going to interoperate should be available, secure, meet performance SLA (consider design-checklists for these quality attributes)</a:t>
          </a:r>
          <a:endParaRPr lang="en-US" sz="2800" kern="1200" dirty="0"/>
        </a:p>
      </dsp:txBody>
      <dsp:txXfrm>
        <a:off x="0" y="3771900"/>
        <a:ext cx="8839200" cy="125235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58B4871-2A87-E349-ACD7-15044E4B723F}">
      <dsp:nvSpPr>
        <dsp:cNvPr id="0" name=""/>
        <dsp:cNvSpPr/>
      </dsp:nvSpPr>
      <dsp:spPr>
        <a:xfrm>
          <a:off x="0" y="0"/>
          <a:ext cx="8610600" cy="62361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Resource Management</a:t>
          </a:r>
          <a:endParaRPr lang="en-US" sz="2800" kern="1200" dirty="0"/>
        </a:p>
      </dsp:txBody>
      <dsp:txXfrm>
        <a:off x="0" y="0"/>
        <a:ext cx="8610600" cy="623612"/>
      </dsp:txXfrm>
    </dsp:sp>
    <dsp:sp modelId="{8F02BDCB-0267-0344-AACC-58E4C4D9F642}">
      <dsp:nvSpPr>
        <dsp:cNvPr id="0" name=""/>
        <dsp:cNvSpPr/>
      </dsp:nvSpPr>
      <dsp:spPr>
        <a:xfrm>
          <a:off x="0" y="568958"/>
          <a:ext cx="8610600" cy="1412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3387" tIns="30480" rIns="170688" bIns="3048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Ensure that system resources are not exhausted (flood of request shouldn’t deny a legitimate user)</a:t>
          </a:r>
          <a:endParaRPr lang="en-US" sz="2400" kern="1200" dirty="0"/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Consider communication load</a:t>
          </a:r>
          <a:endParaRPr lang="en-US" sz="2400" kern="1200" dirty="0"/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When resources are to be shared, plan for an arbitration policy</a:t>
          </a:r>
          <a:endParaRPr lang="en-US" sz="2400" kern="1200" dirty="0"/>
        </a:p>
      </dsp:txBody>
      <dsp:txXfrm>
        <a:off x="0" y="568958"/>
        <a:ext cx="8610600" cy="1412243"/>
      </dsp:txXfrm>
    </dsp:sp>
    <dsp:sp modelId="{17DA38A8-D40E-DB4F-9242-7497628CAE2E}">
      <dsp:nvSpPr>
        <dsp:cNvPr id="0" name=""/>
        <dsp:cNvSpPr/>
      </dsp:nvSpPr>
      <dsp:spPr>
        <a:xfrm>
          <a:off x="0" y="2040507"/>
          <a:ext cx="8610600" cy="62361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Binding Time</a:t>
          </a:r>
          <a:endParaRPr lang="en-US" sz="2800" kern="1200" dirty="0"/>
        </a:p>
      </dsp:txBody>
      <dsp:txXfrm>
        <a:off x="0" y="2040507"/>
        <a:ext cx="8610600" cy="623612"/>
      </dsp:txXfrm>
    </dsp:sp>
    <dsp:sp modelId="{17603272-C63E-D849-9912-D35ED60695DF}">
      <dsp:nvSpPr>
        <dsp:cNvPr id="0" name=""/>
        <dsp:cNvSpPr/>
      </dsp:nvSpPr>
      <dsp:spPr>
        <a:xfrm>
          <a:off x="0" y="2664120"/>
          <a:ext cx="8610600" cy="11259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3387" tIns="30480" rIns="170688" bIns="3048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Ensure that it has the capability to bind unknown systems</a:t>
          </a:r>
          <a:endParaRPr lang="en-US" sz="2400" kern="1200" dirty="0"/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Ensure the proper acceptance and rejection of requests</a:t>
          </a:r>
          <a:endParaRPr lang="en-US" sz="2400" kern="1200" dirty="0"/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Ensure service discovery when you want to allow late binding</a:t>
          </a:r>
          <a:endParaRPr lang="en-US" sz="2400" kern="1200" dirty="0"/>
        </a:p>
      </dsp:txBody>
      <dsp:txXfrm>
        <a:off x="0" y="2664120"/>
        <a:ext cx="8610600" cy="1125977"/>
      </dsp:txXfrm>
    </dsp:sp>
    <dsp:sp modelId="{E4A211F1-991E-FD4B-A126-19950C07C82C}">
      <dsp:nvSpPr>
        <dsp:cNvPr id="0" name=""/>
        <dsp:cNvSpPr/>
      </dsp:nvSpPr>
      <dsp:spPr>
        <a:xfrm>
          <a:off x="0" y="3790098"/>
          <a:ext cx="8610600" cy="62361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Technology Choice</a:t>
          </a:r>
          <a:endParaRPr lang="en-US" sz="2800" kern="1200" dirty="0"/>
        </a:p>
      </dsp:txBody>
      <dsp:txXfrm>
        <a:off x="0" y="3790098"/>
        <a:ext cx="8610600" cy="623612"/>
      </dsp:txXfrm>
    </dsp:sp>
    <dsp:sp modelId="{4D9C1B12-8F18-E84F-917B-8CCB8A77527A}">
      <dsp:nvSpPr>
        <dsp:cNvPr id="0" name=""/>
        <dsp:cNvSpPr/>
      </dsp:nvSpPr>
      <dsp:spPr>
        <a:xfrm>
          <a:off x="0" y="4418362"/>
          <a:ext cx="8610600" cy="6870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3387" tIns="30480" rIns="170688" bIns="30480" numCol="1" spcCol="1270" anchor="t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Consider technology that supports interoperability (e.g. web-services)</a:t>
          </a:r>
          <a:endParaRPr lang="en-US" sz="2400" kern="1200" dirty="0"/>
        </a:p>
      </dsp:txBody>
      <dsp:txXfrm>
        <a:off x="0" y="4418362"/>
        <a:ext cx="8610600" cy="6870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F21BF7A-F4C0-4BE5-9CA6-90349A756B16}" type="datetimeFigureOut">
              <a:rPr lang="en-US"/>
              <a:pPr>
                <a:defRPr/>
              </a:pPr>
              <a:t>11/5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96D13BD-4742-4A2D-88DE-6ACD5EA171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468550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D6A9747-0BED-4693-9C1F-FF931999E1A8}" type="slidenum">
              <a:rPr lang="en-US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8195" name="Rectangle 9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5625" y="4913313"/>
            <a:ext cx="5843588" cy="2254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6D13BD-4742-4A2D-88DE-6ACD5EA1710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xmlns:p="http://schemas.openxmlformats.org/presentationml/2006/main" xmlns:r="http://schemas.openxmlformats.org/officeDocument/2006/relationships" xmlns:a="http://schemas.openxmlformats.org/drawingml/2006/main" val="1937757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ooks heavy, but is really lightweight </a:t>
            </a:r>
            <a:r>
              <a:rPr lang="en-US" dirty="0" smtClean="0">
                <a:sym typeface="Wingdings" pitchFamily="2" charset="2"/>
              </a:rPr>
              <a:t></a:t>
            </a:r>
          </a:p>
          <a:p>
            <a:r>
              <a:rPr lang="en-US" dirty="0" smtClean="0">
                <a:sym typeface="Wingdings" pitchFamily="2" charset="2"/>
              </a:rPr>
              <a:t>Data Service oriented – think CRUD</a:t>
            </a:r>
          </a:p>
          <a:p>
            <a:r>
              <a:rPr lang="en-US" dirty="0" smtClean="0">
                <a:sym typeface="Wingdings" pitchFamily="2" charset="2"/>
              </a:rPr>
              <a:t>Google URL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9AA5DA-ADBD-4BA0-A0E4-2DF61964ACDB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9B309A-2E22-4953-827C-780047AC8F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jpeg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4F724D-0587-459F-80C6-ACE2A0F5DCA5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8258B-7833-4A72-9B7C-65F74D8B82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7989F-96F8-4C2A-A28D-94FCCC1940DA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B2C5CF-B68F-4558-8DFD-8562AE00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10C15-23EC-46C7-9524-4C66D075A074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3111B-94F2-4EC4-BB5A-B60C70B5E9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2723" name="think-cell Slide" r:id="rId7" imgW="6350000" imgH="6350000" progId="">
              <p:embed/>
            </p:oleObj>
          </a:graphicData>
        </a:graphic>
      </p:graphicFrame>
      <p:pic>
        <p:nvPicPr>
          <p:cNvPr id="5" name="Picture 2" descr="\\Server\D\jyoti\FI023_BITS_v1\styleguide img\IMG_5627_b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r="5666" b="5637"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9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30"/>
          <p:cNvSpPr/>
          <p:nvPr userDrawn="1"/>
        </p:nvSpPr>
        <p:spPr>
          <a:xfrm>
            <a:off x="0" y="3440113"/>
            <a:ext cx="8863013" cy="2798762"/>
          </a:xfrm>
          <a:prstGeom prst="rect">
            <a:avLst/>
          </a:prstGeom>
          <a:solidFill>
            <a:srgbClr val="1011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31"/>
          <p:cNvSpPr/>
          <p:nvPr userDrawn="1"/>
        </p:nvSpPr>
        <p:spPr>
          <a:xfrm>
            <a:off x="2954338" y="6238875"/>
            <a:ext cx="2954337" cy="77788"/>
          </a:xfrm>
          <a:prstGeom prst="rect">
            <a:avLst/>
          </a:prstGeom>
          <a:solidFill>
            <a:srgbClr val="76C2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32"/>
          <p:cNvSpPr/>
          <p:nvPr userDrawn="1"/>
        </p:nvSpPr>
        <p:spPr>
          <a:xfrm>
            <a:off x="0" y="6238875"/>
            <a:ext cx="2954338" cy="77788"/>
          </a:xfrm>
          <a:prstGeom prst="rect">
            <a:avLst/>
          </a:prstGeom>
          <a:solidFill>
            <a:srgbClr val="FCB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33"/>
          <p:cNvSpPr/>
          <p:nvPr userDrawn="1"/>
        </p:nvSpPr>
        <p:spPr>
          <a:xfrm>
            <a:off x="5908675" y="6238875"/>
            <a:ext cx="2954338" cy="7778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" name="Picture 34" descr="BITS_university_logo_whitevert.png"/>
          <p:cNvPicPr>
            <a:picLocks noChangeAspect="1"/>
          </p:cNvPicPr>
          <p:nvPr userDrawn="1"/>
        </p:nvPicPr>
        <p:blipFill>
          <a:blip r:embed="rId10" cstate="print"/>
          <a:srcRect t="2" b="28592"/>
          <a:stretch>
            <a:fillRect/>
          </a:stretch>
        </p:blipFill>
        <p:spPr bwMode="auto">
          <a:xfrm>
            <a:off x="77788" y="3440113"/>
            <a:ext cx="2098675" cy="202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35"/>
          <p:cNvGrpSpPr>
            <a:grpSpLocks/>
          </p:cNvGrpSpPr>
          <p:nvPr userDrawn="1"/>
        </p:nvGrpSpPr>
        <p:grpSpPr bwMode="auto">
          <a:xfrm>
            <a:off x="-77788" y="5384800"/>
            <a:ext cx="2254251" cy="698500"/>
            <a:chOff x="76200" y="2209800"/>
            <a:chExt cx="2209800" cy="685800"/>
          </a:xfrm>
        </p:grpSpPr>
        <p:sp>
          <p:nvSpPr>
            <p:cNvPr id="17" name="TextBox 36"/>
            <p:cNvSpPr txBox="1"/>
            <p:nvPr userDrawn="1"/>
          </p:nvSpPr>
          <p:spPr>
            <a:xfrm>
              <a:off x="76200" y="2209800"/>
              <a:ext cx="2209800" cy="5533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000" b="1" spc="-153" dirty="0">
                  <a:solidFill>
                    <a:schemeClr val="bg1"/>
                  </a:solidFill>
                  <a:latin typeface="Arial"/>
                  <a:cs typeface="Arial"/>
                </a:rPr>
                <a:t>BITS</a:t>
              </a:r>
              <a:r>
                <a:rPr lang="en-US" sz="3000" spc="-153" dirty="0">
                  <a:solidFill>
                    <a:schemeClr val="bg1"/>
                  </a:solidFill>
                  <a:latin typeface="Arial"/>
                  <a:cs typeface="Arial"/>
                </a:rPr>
                <a:t> Pilani</a:t>
              </a:r>
            </a:p>
          </p:txBody>
        </p:sp>
        <p:sp>
          <p:nvSpPr>
            <p:cNvPr id="18" name="TextBox 37"/>
            <p:cNvSpPr txBox="1"/>
            <p:nvPr userDrawn="1"/>
          </p:nvSpPr>
          <p:spPr>
            <a:xfrm>
              <a:off x="228708" y="2664922"/>
              <a:ext cx="1904785" cy="2306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spc="-153" dirty="0">
                  <a:solidFill>
                    <a:srgbClr val="FFFFFF"/>
                  </a:solidFill>
                  <a:latin typeface="Arial"/>
                  <a:cs typeface="Arial"/>
                </a:rPr>
                <a:t>Pilani | Dubai | Goa | Hyderabad</a:t>
              </a:r>
            </a:p>
          </p:txBody>
        </p:sp>
      </p:grpSp>
      <p:sp>
        <p:nvSpPr>
          <p:cNvPr id="41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65827" y="3683300"/>
            <a:ext cx="6199129" cy="1567913"/>
          </a:xfrm>
          <a:prstGeom prst="rect">
            <a:avLst/>
          </a:prstGeom>
        </p:spPr>
        <p:txBody>
          <a:bodyPr/>
          <a:lstStyle>
            <a:lvl1pPr>
              <a:defRPr sz="45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2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565827" y="5431835"/>
            <a:ext cx="6199129" cy="369332"/>
          </a:xfrm>
        </p:spPr>
        <p:txBody>
          <a:bodyPr>
            <a:spAutoFit/>
          </a:bodyPr>
          <a:lstStyle>
            <a:lvl1pPr algn="r"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0113" y="101600"/>
            <a:ext cx="7543800" cy="9159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196975"/>
            <a:ext cx="4189413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196975"/>
            <a:ext cx="4191000" cy="5076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09800" y="6524625"/>
            <a:ext cx="4343400" cy="339725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en-US" dirty="0" smtClean="0"/>
              <a:t>SS ZG653   </a:t>
            </a: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629400" y="6669088"/>
            <a:ext cx="1146175" cy="193675"/>
          </a:xfrm>
        </p:spPr>
        <p:txBody>
          <a:bodyPr/>
          <a:lstStyle>
            <a:lvl1pPr>
              <a:defRPr/>
            </a:lvl1pPr>
          </a:lstStyle>
          <a:p>
            <a:fld id="{9CFDB6F3-717B-4EFA-AE68-39ABADDA501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1527812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9400"/>
            <a:ext cx="8229600" cy="939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82000" cy="5029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294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5EA1C-A7DB-4043-A966-3C32264105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65187" y="1219200"/>
            <a:ext cx="7059613" cy="47625"/>
            <a:chOff x="304800" y="1387475"/>
            <a:chExt cx="7059613" cy="47625"/>
          </a:xfrm>
        </p:grpSpPr>
        <p:sp>
          <p:nvSpPr>
            <p:cNvPr id="7" name="Rectangle 6"/>
            <p:cNvSpPr/>
            <p:nvPr userDrawn="1"/>
          </p:nvSpPr>
          <p:spPr>
            <a:xfrm>
              <a:off x="2851150" y="1387475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5129213" y="1387475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387475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2" name="Rectangle 11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06C02-BCC5-4A57-BC46-5D7727BB0BB3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94BB5-FA31-4C4A-832D-C4069DAEF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90600" y="6248400"/>
            <a:ext cx="7086599" cy="53975"/>
            <a:chOff x="2084388" y="6550025"/>
            <a:chExt cx="7086599" cy="53975"/>
          </a:xfrm>
        </p:grpSpPr>
        <p:sp>
          <p:nvSpPr>
            <p:cNvPr id="8" name="Rectangle 7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684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11779-2D67-471C-9D95-BAB168EA2A5D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719E3-4EA4-4EB4-A6A2-0A7E31A945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8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65187" y="1066800"/>
            <a:ext cx="7059613" cy="47625"/>
            <a:chOff x="304800" y="1219200"/>
            <a:chExt cx="7059613" cy="47625"/>
          </a:xfrm>
        </p:grpSpPr>
        <p:sp>
          <p:nvSpPr>
            <p:cNvPr id="10" name="Rectangle 9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pSp>
        <p:nvGrpSpPr>
          <p:cNvPr id="13" name="Group 12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4" name="Rectangle 13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826"/>
            <a:ext cx="4040188" cy="439357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3190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55800"/>
            <a:ext cx="4041775" cy="4419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0A3B0-6CFD-479E-9059-45686EAA74E3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314A3-D523-4C7A-9CDF-5B6E2E9490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296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865187" y="1143000"/>
            <a:ext cx="7059613" cy="47625"/>
            <a:chOff x="304800" y="1219200"/>
            <a:chExt cx="7059613" cy="476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7" name="Rectangle 16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ABF2EF-6CA8-4AF8-B29C-E9AEB937B93E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2D608-A983-474B-810A-71D2C64AE7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15" descr="Picture 7.png"/>
          <p:cNvPicPr>
            <a:picLocks noChangeAspect="1"/>
          </p:cNvPicPr>
          <p:nvPr userDrawn="1"/>
        </p:nvPicPr>
        <p:blipFill>
          <a:blip r:embed="rId2" cstate="print"/>
          <a:srcRect l="1923" b="5336"/>
          <a:stretch>
            <a:fillRect/>
          </a:stretch>
        </p:blipFill>
        <p:spPr bwMode="auto">
          <a:xfrm>
            <a:off x="7932738" y="0"/>
            <a:ext cx="121126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869" y="203200"/>
            <a:ext cx="8229600" cy="1016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187" y="1219200"/>
            <a:ext cx="7059613" cy="47625"/>
            <a:chOff x="304800" y="1219200"/>
            <a:chExt cx="7059613" cy="47625"/>
          </a:xfrm>
        </p:grpSpPr>
        <p:sp>
          <p:nvSpPr>
            <p:cNvPr id="8" name="Rectangle 7"/>
            <p:cNvSpPr/>
            <p:nvPr userDrawn="1"/>
          </p:nvSpPr>
          <p:spPr>
            <a:xfrm>
              <a:off x="5129213" y="1219200"/>
              <a:ext cx="2235200" cy="444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04800" y="1219200"/>
              <a:ext cx="2581275" cy="47625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851150" y="1219200"/>
              <a:ext cx="2328863" cy="476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124200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66800" y="6477000"/>
            <a:ext cx="7086599" cy="53975"/>
            <a:chOff x="2084388" y="6550025"/>
            <a:chExt cx="7086599" cy="53975"/>
          </a:xfrm>
        </p:grpSpPr>
        <p:sp>
          <p:nvSpPr>
            <p:cNvPr id="13" name="Rectangle 12"/>
            <p:cNvSpPr/>
            <p:nvPr/>
          </p:nvSpPr>
          <p:spPr>
            <a:xfrm>
              <a:off x="4630738" y="6550025"/>
              <a:ext cx="2328862" cy="49213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934200" y="6557962"/>
              <a:ext cx="2236787" cy="4603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084388" y="6550025"/>
              <a:ext cx="2579687" cy="49213"/>
            </a:xfrm>
            <a:prstGeom prst="rect">
              <a:avLst/>
            </a:prstGeom>
            <a:solidFill>
              <a:srgbClr val="FFCE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6454D-1367-437C-AA78-A7B95DE4A7F6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3084DF-DC46-4C12-978C-A84F77F3D6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9A701-612E-4460-A741-54FD35FA20A7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DEAB-A622-469A-A93C-6A44F10F99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D3938D-3E5E-431C-9A8D-F7083632C994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C480E-89B4-4B68-9362-EC75E0717D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84B85C3-2DF3-4152-A050-1FA9CFF3C691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66CAB3F-691D-476E-BA2C-15613104DA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hyperlink" Target="http://search.yahooapis.com/WebSearchService/V1/webSearch?appid=YahooDemo&amp;query=accenture" TargetMode="Externa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7"/>
          <p:cNvSpPr>
            <a:spLocks noChangeArrowheads="1"/>
          </p:cNvSpPr>
          <p:nvPr/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9913" y="3433763"/>
            <a:ext cx="6923087" cy="2281237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sz="3600" dirty="0" smtClean="0"/>
              <a:t>SS ZG653 (RL 6.3): </a:t>
            </a:r>
            <a:r>
              <a:rPr lang="en-GB" sz="3600" dirty="0"/>
              <a:t>Software </a:t>
            </a:r>
            <a:r>
              <a:rPr lang="en-GB" sz="3600" dirty="0" smtClean="0"/>
              <a:t>Architecture</a:t>
            </a:r>
            <a:br>
              <a:rPr lang="en-GB" sz="3600" dirty="0" smtClean="0"/>
            </a:br>
            <a:r>
              <a:rPr lang="en-GB" sz="3200" dirty="0" smtClean="0"/>
              <a:t>Interoperability and Its Tactics</a:t>
            </a:r>
            <a:endParaRPr lang="en-GB" sz="36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429000" y="5757446"/>
            <a:ext cx="388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structor: Prof. </a:t>
            </a:r>
            <a:r>
              <a:rPr lang="en-US" b="1" dirty="0" err="1" smtClean="0">
                <a:solidFill>
                  <a:schemeClr val="bg1"/>
                </a:solidFill>
              </a:rPr>
              <a:t>Santonu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arkar</a:t>
            </a:r>
            <a:endParaRPr lang="en-US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T vs. SOAP/WSDL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</p:nvPr>
        </p:nvGraphicFramePr>
        <p:xfrm>
          <a:off x="228600" y="2133600"/>
          <a:ext cx="8762999" cy="4177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0560"/>
                <a:gridCol w="3043401"/>
                <a:gridCol w="4309038"/>
              </a:tblGrid>
              <a:tr h="308279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ysClr val="windowText" lastClr="000000"/>
                          </a:solidFill>
                        </a:rPr>
                        <a:t>SOAP/WSDL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ysClr val="windowText" lastClr="000000"/>
                          </a:solidFill>
                        </a:rPr>
                        <a:t>REST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/>
                </a:tc>
              </a:tr>
              <a:tr h="462418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urpose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essage exchange</a:t>
                      </a:r>
                      <a:r>
                        <a:rPr lang="en-US" sz="1200" baseline="0" dirty="0" smtClean="0"/>
                        <a:t> between two applications/system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ccess and manipulating</a:t>
                      </a:r>
                      <a:r>
                        <a:rPr lang="en-US" sz="1200" baseline="0" dirty="0" smtClean="0"/>
                        <a:t> a h</a:t>
                      </a:r>
                      <a:r>
                        <a:rPr lang="en-US" sz="1200" dirty="0" smtClean="0"/>
                        <a:t>ypermedia system</a:t>
                      </a:r>
                      <a:endParaRPr lang="en-US" sz="1200" dirty="0"/>
                    </a:p>
                  </a:txBody>
                  <a:tcPr/>
                </a:tc>
              </a:tr>
              <a:tr h="2825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Origin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P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WWW</a:t>
                      </a:r>
                      <a:endParaRPr lang="en-US" sz="1200" dirty="0"/>
                    </a:p>
                  </a:txBody>
                  <a:tcPr/>
                </a:tc>
              </a:tr>
              <a:tr h="2897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Functionality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ich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inimal</a:t>
                      </a:r>
                      <a:endParaRPr lang="en-US" sz="1200" dirty="0"/>
                    </a:p>
                  </a:txBody>
                  <a:tcPr/>
                </a:tc>
              </a:tr>
              <a:tr h="2825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Interaction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Orchestrated event-ba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Client/server (request/response)</a:t>
                      </a:r>
                    </a:p>
                  </a:txBody>
                  <a:tcPr/>
                </a:tc>
              </a:tr>
              <a:tr h="2825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Focus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cess-orient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ata-oriented</a:t>
                      </a:r>
                      <a:endParaRPr lang="en-US" sz="1200" dirty="0"/>
                    </a:p>
                  </a:txBody>
                  <a:tcPr/>
                </a:tc>
              </a:tr>
              <a:tr h="462418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Methods/ operations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aries</a:t>
                      </a:r>
                      <a:r>
                        <a:rPr lang="en-US" sz="1200" baseline="0" dirty="0" smtClean="0"/>
                        <a:t> depending on the </a:t>
                      </a:r>
                      <a:r>
                        <a:rPr lang="en-US" sz="1200" dirty="0" smtClean="0"/>
                        <a:t>servic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xed</a:t>
                      </a:r>
                      <a:endParaRPr lang="en-US" sz="1200" dirty="0"/>
                    </a:p>
                  </a:txBody>
                  <a:tcPr/>
                </a:tc>
              </a:tr>
              <a:tr h="2897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Reuse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entrally govern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Little/no governance (focus on ease of use instead)</a:t>
                      </a:r>
                      <a:endParaRPr lang="en-US" sz="1200" dirty="0"/>
                    </a:p>
                  </a:txBody>
                  <a:tcPr/>
                </a:tc>
              </a:tr>
              <a:tr h="462418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Interaction context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an be maintained</a:t>
                      </a:r>
                      <a:r>
                        <a:rPr lang="en-US" sz="1200" baseline="0" dirty="0" smtClean="0"/>
                        <a:t> in both client  and serve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nly on client</a:t>
                      </a:r>
                    </a:p>
                  </a:txBody>
                  <a:tcPr/>
                </a:tc>
              </a:tr>
              <a:tr h="2825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Format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OAP in, SOAP</a:t>
                      </a:r>
                      <a:r>
                        <a:rPr lang="en-US" sz="1200" baseline="0" dirty="0" smtClean="0"/>
                        <a:t> ou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URI (+POX)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in, POX</a:t>
                      </a:r>
                      <a:r>
                        <a:rPr lang="en-US" sz="1200" baseline="0" dirty="0" smtClean="0"/>
                        <a:t> out </a:t>
                      </a:r>
                      <a:endParaRPr lang="en-US" sz="1200" dirty="0" smtClean="0"/>
                    </a:p>
                  </a:txBody>
                  <a:tcPr/>
                </a:tc>
              </a:tr>
              <a:tr h="462418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ransport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Transport</a:t>
                      </a:r>
                      <a:r>
                        <a:rPr lang="en-US" sz="1200" baseline="0" dirty="0" smtClean="0"/>
                        <a:t> independent</a:t>
                      </a:r>
                      <a:endParaRPr lang="en-US" sz="1200" dirty="0" smtClean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HTTP only</a:t>
                      </a:r>
                    </a:p>
                  </a:txBody>
                  <a:tcPr/>
                </a:tc>
              </a:tr>
              <a:tr h="28258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Security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WS-Securit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HTTP authentication</a:t>
                      </a:r>
                      <a:r>
                        <a:rPr lang="en-US" sz="1200" baseline="0" dirty="0" smtClean="0"/>
                        <a:t> + SSL</a:t>
                      </a:r>
                      <a:endParaRPr lang="en-US" sz="12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1219200"/>
            <a:ext cx="91440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eaLnBrk="0" fontAlgn="base" hangingPunct="0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•"/>
            </a:pPr>
            <a:r>
              <a:rPr lang="en-US" sz="1600" kern="0" dirty="0" smtClean="0">
                <a:solidFill>
                  <a:srgbClr val="000000"/>
                </a:solidFill>
                <a:latin typeface="Berlin Sans FB" pitchFamily="34" charset="0"/>
              </a:rPr>
              <a:t>Simply put, the community has claimed that SOAP and WSDL have become too grandiose and comprehensive to achieve the “agility” touted by SOA (</a:t>
            </a:r>
            <a:r>
              <a:rPr lang="en-US" sz="1000" dirty="0" smtClean="0"/>
              <a:t>Seeley, R., “Burton sees the future of SOA and it is REST,” SearchWebService.com, May 30, 2007)</a:t>
            </a:r>
            <a:endParaRPr lang="en-US" sz="1600" dirty="0" smtClean="0"/>
          </a:p>
          <a:p>
            <a:pPr marL="177800" lvl="0" indent="-177800" eaLnBrk="0" fontAlgn="base" hangingPunct="0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endParaRPr lang="en-US" sz="1600" kern="0" baseline="30000" dirty="0" smtClean="0">
              <a:solidFill>
                <a:srgbClr val="000000"/>
              </a:solidFill>
              <a:latin typeface="Berlin Sans FB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" y="6492875"/>
            <a:ext cx="2133600" cy="365125"/>
          </a:xfrm>
        </p:spPr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pPr>
                <a:defRPr/>
              </a:pPr>
              <a:t>11/5/1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Interoper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Allocation of Responsibilities: Check which system features need to interoperate with others. For each of these features, ensure that the designers implement</a:t>
            </a:r>
          </a:p>
          <a:p>
            <a:pPr lvl="1"/>
            <a:r>
              <a:rPr lang="en-US" sz="2000" dirty="0" smtClean="0"/>
              <a:t>Accepting and rejecting of requests</a:t>
            </a:r>
          </a:p>
          <a:p>
            <a:pPr lvl="1"/>
            <a:r>
              <a:rPr lang="en-US" sz="2000" dirty="0" smtClean="0"/>
              <a:t>Logging of request</a:t>
            </a:r>
          </a:p>
          <a:p>
            <a:pPr lvl="1"/>
            <a:r>
              <a:rPr lang="en-US" sz="2000" dirty="0" smtClean="0"/>
              <a:t>Notification mechanism</a:t>
            </a:r>
          </a:p>
          <a:p>
            <a:pPr lvl="1"/>
            <a:r>
              <a:rPr lang="en-US" sz="2000" dirty="0" smtClean="0"/>
              <a:t>Exchange of information </a:t>
            </a:r>
          </a:p>
          <a:p>
            <a:r>
              <a:rPr lang="en-US" sz="2400" dirty="0" smtClean="0"/>
              <a:t>Coordination Model: Coordination should ensure performance </a:t>
            </a:r>
            <a:r>
              <a:rPr lang="en-US" sz="2400" dirty="0" err="1" smtClean="0"/>
              <a:t>SLAs</a:t>
            </a:r>
            <a:r>
              <a:rPr lang="en-US" sz="2400" dirty="0" smtClean="0"/>
              <a:t> to be met. Plan for</a:t>
            </a:r>
          </a:p>
          <a:p>
            <a:pPr lvl="1"/>
            <a:r>
              <a:rPr lang="en-US" sz="2000" dirty="0" smtClean="0"/>
              <a:t>Handling the volume of requests</a:t>
            </a:r>
          </a:p>
          <a:p>
            <a:pPr lvl="1"/>
            <a:r>
              <a:rPr lang="en-US" sz="2000" dirty="0" smtClean="0"/>
              <a:t>Timeliness to respond and send the message</a:t>
            </a:r>
          </a:p>
          <a:p>
            <a:pPr lvl="1"/>
            <a:r>
              <a:rPr lang="en-US" sz="2000" dirty="0" smtClean="0"/>
              <a:t>Currency of the messages sent</a:t>
            </a:r>
          </a:p>
          <a:p>
            <a:pPr lvl="1"/>
            <a:r>
              <a:rPr lang="en-US" sz="2000" dirty="0" smtClean="0"/>
              <a:t>Handle jitters in message arrival times</a:t>
            </a:r>
          </a:p>
          <a:p>
            <a:pPr lvl="1"/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Interoperability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152400" y="1295400"/>
          <a:ext cx="8839200" cy="50292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2BA33296-6541-7A42-8BA6-85675A05CC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CEF228E2-C7A0-9E46-A4D1-99C0DB8BA5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D987DE04-9FFB-2E48-92BB-A22909AE8D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90D64F8F-8081-6345-A53C-935E9B8382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Dgm bld="one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Checklist- Interoperability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04800" y="1295400"/>
          <a:ext cx="8610600" cy="51054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58B4871-2A87-E349-ACD7-15044E4B72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8F02BDCB-0267-0344-AACC-58E4C4D9F64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7DA38A8-D40E-DB4F-9242-7497628CAE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7603272-C63E-D849-9912-D35ED60695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4A211F1-991E-FD4B-A126-19950C07C82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4D9C1B12-8F18-E84F-917B-8CCB8A7752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Picture 7.png"/>
          <p:cNvPicPr>
            <a:picLocks noChangeAspect="1"/>
          </p:cNvPicPr>
          <p:nvPr/>
        </p:nvPicPr>
        <p:blipFill>
          <a:blip r:embed="rId3" cstate="print"/>
          <a:srcRect l="1923" b="5336"/>
          <a:stretch>
            <a:fillRect/>
          </a:stretch>
        </p:blipFill>
        <p:spPr bwMode="auto">
          <a:xfrm>
            <a:off x="7369175" y="0"/>
            <a:ext cx="160655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2536825" y="1125538"/>
            <a:ext cx="2328863" cy="476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814888" y="1125538"/>
            <a:ext cx="2235200" cy="4445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-9525" y="1125538"/>
            <a:ext cx="2581275" cy="47625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30738" y="6550025"/>
            <a:ext cx="2328862" cy="492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907213" y="6550025"/>
            <a:ext cx="2236787" cy="4603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2084388" y="6550025"/>
            <a:ext cx="2579687" cy="49213"/>
          </a:xfrm>
          <a:prstGeom prst="rect">
            <a:avLst/>
          </a:prstGeom>
          <a:solidFill>
            <a:srgbClr val="FFCE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153" name="TextBox 12"/>
          <p:cNvSpPr txBox="1">
            <a:spLocks noChangeArrowheads="1"/>
          </p:cNvSpPr>
          <p:nvPr/>
        </p:nvSpPr>
        <p:spPr bwMode="auto">
          <a:xfrm>
            <a:off x="1676400" y="3040063"/>
            <a:ext cx="54102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400" b="1" dirty="0">
                <a:solidFill>
                  <a:srgbClr val="000066"/>
                </a:solidFill>
                <a:latin typeface="Calibri" pitchFamily="34" charset="0"/>
              </a:rPr>
              <a:t>Thank You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C86219D8-D3CD-472B-9381-C1902B850A54}" type="slidenum">
              <a:rPr lang="en-US"/>
              <a:pPr>
                <a:defRPr/>
              </a:pPr>
              <a:t>14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51968E-834B-41A3-A514-C4771C9B4D2B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92048" y="6528416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35120"/>
            <a:ext cx="8534400" cy="5029200"/>
          </a:xfrm>
        </p:spPr>
        <p:txBody>
          <a:bodyPr/>
          <a:lstStyle/>
          <a:p>
            <a:r>
              <a:rPr lang="en-US" sz="2800" dirty="0" smtClean="0"/>
              <a:t>Ability that two systems can usefully exchange information through an interface</a:t>
            </a:r>
          </a:p>
          <a:p>
            <a:pPr lvl="1"/>
            <a:r>
              <a:rPr lang="en-US" sz="2500" dirty="0" smtClean="0"/>
              <a:t>Ability to transfer data (syntactic) and interpret data (semantic)</a:t>
            </a:r>
          </a:p>
          <a:p>
            <a:r>
              <a:rPr lang="en-US" sz="2800" dirty="0" smtClean="0"/>
              <a:t>Information exchange can be direct or indirect</a:t>
            </a:r>
          </a:p>
          <a:p>
            <a:r>
              <a:rPr lang="en-US" sz="2800" dirty="0" smtClean="0"/>
              <a:t>Interface</a:t>
            </a:r>
          </a:p>
          <a:p>
            <a:pPr lvl="1"/>
            <a:r>
              <a:rPr lang="en-US" sz="2500" dirty="0" smtClean="0"/>
              <a:t>Beyond API</a:t>
            </a:r>
          </a:p>
          <a:p>
            <a:pPr lvl="1"/>
            <a:r>
              <a:rPr lang="en-US" sz="2500" dirty="0" smtClean="0"/>
              <a:t>Need to have a set of assumptions you can safely make about the entity exposing the API</a:t>
            </a:r>
          </a:p>
          <a:p>
            <a:r>
              <a:rPr lang="en-US" sz="2800" dirty="0" smtClean="0"/>
              <a:t>Example- you want to integrate with Google Maps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81C3E0D-F1A0-434C-8D7C-B94B8FEBE672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3860618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nteroperat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5029200"/>
          </a:xfrm>
        </p:spPr>
        <p:txBody>
          <a:bodyPr/>
          <a:lstStyle/>
          <a:p>
            <a:r>
              <a:rPr lang="en-US" sz="2800" dirty="0" smtClean="0"/>
              <a:t>The service provided by Google Maps are used by unknown systems</a:t>
            </a:r>
          </a:p>
          <a:p>
            <a:pPr lvl="1"/>
            <a:r>
              <a:rPr lang="en-US" sz="2400" dirty="0" smtClean="0"/>
              <a:t>They must be able to use Google Maps w/o Google knowing who they can be</a:t>
            </a:r>
          </a:p>
          <a:p>
            <a:r>
              <a:rPr lang="en-US" sz="2800" dirty="0" smtClean="0"/>
              <a:t>You may want to construct capability from variety of systems</a:t>
            </a:r>
          </a:p>
          <a:p>
            <a:pPr lvl="1"/>
            <a:r>
              <a:rPr lang="en-US" sz="2400" dirty="0" smtClean="0"/>
              <a:t>A traffic sensing system can receive stream of data from individual vehicles</a:t>
            </a:r>
          </a:p>
          <a:p>
            <a:pPr lvl="1"/>
            <a:r>
              <a:rPr lang="en-US" sz="2400" dirty="0" smtClean="0"/>
              <a:t>Raw data needs to be processed</a:t>
            </a:r>
          </a:p>
          <a:p>
            <a:pPr lvl="1"/>
            <a:r>
              <a:rPr lang="en-US" sz="2400" dirty="0" smtClean="0"/>
              <a:t>Need to be fused with other data from different sources</a:t>
            </a:r>
          </a:p>
          <a:p>
            <a:pPr lvl="1"/>
            <a:r>
              <a:rPr lang="en-US" sz="2400" dirty="0" smtClean="0"/>
              <a:t>Need to decide the traffic congestion</a:t>
            </a:r>
          </a:p>
          <a:p>
            <a:pPr lvl="1"/>
            <a:r>
              <a:rPr lang="en-US" sz="2400" dirty="0" smtClean="0"/>
              <a:t>Overlay with Google Maps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032E01-4605-43DE-8129-F995C1DEBCA8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BF86ED-33B2-4F6D-B069-8577A7E748C8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 Scenari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92875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52400" y="2133600"/>
            <a:ext cx="1524000" cy="28194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WHO</a:t>
            </a:r>
            <a:endParaRPr lang="en-US" sz="1400" u="sng" dirty="0" smtClean="0">
              <a:solidFill>
                <a:schemeClr val="tx1"/>
              </a:solidFill>
            </a:endParaRPr>
          </a:p>
          <a:p>
            <a:pPr algn="ctr"/>
            <a:endParaRPr lang="en-US" sz="1000" u="sng" dirty="0" smtClean="0">
              <a:solidFill>
                <a:schemeClr val="tx1"/>
              </a:solidFill>
            </a:endParaRPr>
          </a:p>
          <a:p>
            <a:pPr marL="91440" indent="-91440">
              <a:buFont typeface="Arial" pitchFamily="34" charset="0"/>
              <a:buChar char="•"/>
              <a:defRPr/>
            </a:pPr>
            <a:r>
              <a:rPr lang="en-US" sz="1600" b="1" u="sng" dirty="0" smtClean="0"/>
              <a:t>A system </a:t>
            </a:r>
            <a:r>
              <a:rPr lang="en-US" sz="1400" b="1" dirty="0" smtClean="0"/>
              <a:t>initiating request</a:t>
            </a:r>
          </a:p>
        </p:txBody>
      </p:sp>
      <p:sp>
        <p:nvSpPr>
          <p:cNvPr id="8" name="Rectangle 7"/>
          <p:cNvSpPr/>
          <p:nvPr/>
        </p:nvSpPr>
        <p:spPr>
          <a:xfrm>
            <a:off x="1828800" y="2133600"/>
            <a:ext cx="1600200" cy="281940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STIMULUS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b="1" u="sng" dirty="0" smtClean="0"/>
              <a:t>Request </a:t>
            </a:r>
            <a:r>
              <a:rPr lang="en-US" sz="1600" b="1" dirty="0" smtClean="0"/>
              <a:t>to exchange inform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3505200" y="1676400"/>
            <a:ext cx="1524000" cy="342495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rIns="0" anchor="b" anchorCtr="1"/>
          <a:lstStyle/>
          <a:p>
            <a:pPr algn="ctr">
              <a:defRPr/>
            </a:pPr>
            <a:r>
              <a:rPr lang="en-US" sz="1600" u="sng" dirty="0" smtClean="0"/>
              <a:t>IMPACTED PART</a:t>
            </a:r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defRPr/>
            </a:pPr>
            <a:endParaRPr lang="en-US" sz="1600" u="sng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 smtClean="0"/>
              <a:t>It has been already discovered 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600" dirty="0" smtClean="0"/>
              <a:t>at runtime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600" dirty="0" smtClean="0"/>
              <a:t>Prior to runtime</a:t>
            </a:r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5181600" y="1447800"/>
            <a:ext cx="1864424" cy="366698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RESPONSE ACTION</a:t>
            </a:r>
          </a:p>
          <a:p>
            <a:pPr algn="ctr"/>
            <a:endParaRPr lang="en-US" sz="1600" u="sng" dirty="0" smtClean="0">
              <a:solidFill>
                <a:schemeClr val="tx1"/>
              </a:solidFill>
            </a:endParaRP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request is </a:t>
            </a:r>
            <a:r>
              <a:rPr lang="en-US" sz="1600" cap="all" dirty="0" smtClean="0">
                <a:solidFill>
                  <a:schemeClr val="tx1"/>
                </a:solidFill>
              </a:rPr>
              <a:t>accepted </a:t>
            </a:r>
            <a:r>
              <a:rPr lang="en-US" sz="1600" dirty="0" smtClean="0">
                <a:solidFill>
                  <a:schemeClr val="tx1"/>
                </a:solidFill>
              </a:rPr>
              <a:t>and information is exchanged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request is REJECTED and appropriate entities are notified</a:t>
            </a:r>
          </a:p>
          <a:p>
            <a:pPr marL="182880" lvl="2" indent="-9144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he request is logged by one or more system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162800" y="1447800"/>
            <a:ext cx="1828801" cy="366698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u="sng" dirty="0" smtClean="0">
                <a:solidFill>
                  <a:schemeClr val="tx1"/>
                </a:solidFill>
              </a:rPr>
              <a:t>MEASURABLE RESPONSE</a:t>
            </a:r>
          </a:p>
          <a:p>
            <a:pPr algn="ctr"/>
            <a:endParaRPr lang="en-US" sz="1400" u="sng" dirty="0">
              <a:solidFill>
                <a:schemeClr val="tx1"/>
              </a:solidFill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%information that has been exchanged successfully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 %information that has been REJECTED successfull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586350" y="2375435"/>
            <a:ext cx="1344878" cy="1142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omponent or whole system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3287" y="5410200"/>
            <a:ext cx="15131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ehicle information system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828799" y="5410200"/>
            <a:ext cx="1752601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ends current location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7168738" y="5181600"/>
            <a:ext cx="182880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he vehicle information is included correctly 99.9% of the time</a:t>
            </a:r>
            <a:endParaRPr lang="en-US" sz="1600" dirty="0"/>
          </a:p>
        </p:txBody>
      </p:sp>
      <p:sp>
        <p:nvSpPr>
          <p:cNvPr id="17" name="TextBox 16"/>
          <p:cNvSpPr txBox="1"/>
          <p:nvPr/>
        </p:nvSpPr>
        <p:spPr>
          <a:xfrm>
            <a:off x="3579422" y="5181600"/>
            <a:ext cx="152597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raffic monitoring system</a:t>
            </a:r>
          </a:p>
          <a:p>
            <a:r>
              <a:rPr lang="en-US" sz="1400" dirty="0" smtClean="0"/>
              <a:t> -- discovered prior to runtime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5222176" y="5105400"/>
            <a:ext cx="18644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mbines the location information with other details, overlays with Google Maps, and broadcasts</a:t>
            </a:r>
            <a:endParaRPr lang="en-US" sz="140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xmlns:p="http://schemas.openxmlformats.org/presentationml/2006/main" xmlns:r="http://schemas.openxmlformats.org/officeDocument/2006/relationships" xmlns:a="http://schemas.openxmlformats.org/drawingml/2006/main" val="653536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2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20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 animBg="1"/>
      <p:bldP spid="8" grpId="0" build="allAtOnce" animBg="1"/>
      <p:bldP spid="9" grpId="0" build="allAtOnce" animBg="1"/>
      <p:bldP spid="10" grpId="0" build="allAtOnce" animBg="1"/>
      <p:bldP spid="11" grpId="0" build="allAtOnce" animBg="1"/>
      <p:bldP spid="12" grpId="0" build="allAtOnce" animBg="1"/>
      <p:bldP spid="13" grpId="0" build="allAtOnce"/>
      <p:bldP spid="14" grpId="0" build="allAtOnce"/>
      <p:bldP spid="16" grpId="0" build="allAtOnce"/>
      <p:bldP spid="17" grpId="0" build="allAtOnce"/>
      <p:bldP spid="18" grpId="0" build="allAtOnce"/>
    </p:bld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ion of Interfac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143000"/>
            <a:ext cx="8686800" cy="5029200"/>
          </a:xfrm>
        </p:spPr>
        <p:txBody>
          <a:bodyPr/>
          <a:lstStyle/>
          <a:p>
            <a:r>
              <a:rPr lang="en-US" sz="2800" dirty="0" smtClean="0"/>
              <a:t>Information exchange</a:t>
            </a:r>
          </a:p>
          <a:p>
            <a:pPr lvl="1"/>
            <a:r>
              <a:rPr lang="en-US" sz="2400" dirty="0" smtClean="0"/>
              <a:t>Can be as simple as A calling B</a:t>
            </a:r>
          </a:p>
          <a:p>
            <a:pPr lvl="1"/>
            <a:r>
              <a:rPr lang="en-US" sz="2400" dirty="0" smtClean="0"/>
              <a:t>A and B can exchange implicitly w/o direct communication</a:t>
            </a:r>
          </a:p>
          <a:p>
            <a:pPr lvl="1"/>
            <a:r>
              <a:rPr lang="en-US" sz="2400" dirty="0" smtClean="0"/>
              <a:t>Operation Dessert Storm 1991: Anti-missile system failed to exchange information (intercept) an incoming ballistic rocket</a:t>
            </a:r>
          </a:p>
          <a:p>
            <a:pPr lvl="2"/>
            <a:r>
              <a:rPr lang="en-US" sz="2000" dirty="0" smtClean="0"/>
              <a:t>The system required periodic restart in order to recalibrate its position. Since it wasn’t restarted, the information wasn’t correctly captured due to error accumulation</a:t>
            </a:r>
          </a:p>
          <a:p>
            <a:r>
              <a:rPr lang="en-US" sz="2800" dirty="0" smtClean="0"/>
              <a:t>Interface</a:t>
            </a:r>
          </a:p>
          <a:p>
            <a:pPr lvl="1"/>
            <a:r>
              <a:rPr lang="en-US" sz="2400" dirty="0" smtClean="0"/>
              <a:t>Here it also means that a set of assumptions that can be made safely about this entity</a:t>
            </a:r>
          </a:p>
          <a:p>
            <a:pPr lvl="1"/>
            <a:r>
              <a:rPr lang="en-US" sz="2400" dirty="0" smtClean="0"/>
              <a:t>E.g. it is safe to assume that the API of anti-missile  system DOES NOT give information about gradual degradation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BABF2EF-6CA8-4AF8-B29C-E9AEB937B93E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92D608-A983-474B-810A-71D2C64AE7A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ctics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pPr>
                <a:defRPr/>
              </a:pPr>
              <a:t>11/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05492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 Tac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cate (Discover service)</a:t>
            </a:r>
          </a:p>
          <a:p>
            <a:pPr lvl="1"/>
            <a:r>
              <a:rPr lang="en-US" dirty="0" smtClean="0"/>
              <a:t>Identify the service through a known directory service. Here service implies a set of capabilities available through an interface</a:t>
            </a:r>
          </a:p>
          <a:p>
            <a:pPr lvl="1"/>
            <a:r>
              <a:rPr lang="en-US" dirty="0" smtClean="0"/>
              <a:t>By name, location or other attribut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pPr>
                <a:defRPr/>
              </a:pPr>
              <a:t>11/5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05492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operability Tactics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382000" cy="50292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pPr>
                <a:defRPr/>
              </a:pPr>
              <a:t>11/5/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S ZG653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B5EA1C-A7DB-4043-A966-3C322641058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="" xmlns:p="http://schemas.openxmlformats.org/presentationml/2006/main" xmlns:r="http://schemas.openxmlformats.org/officeDocument/2006/relationships" xmlns:a="http://schemas.openxmlformats.org/drawingml/2006/main" val="2054926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1D23085-15DF-D646-A54B-71A7AF9BAA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05FD913-7D52-5F46-9510-94A336D08E6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REpresentational</a:t>
            </a:r>
            <a:r>
              <a:rPr lang="en-US" dirty="0" smtClean="0"/>
              <a:t> State Transfer (REST)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81000" y="2438400"/>
          <a:ext cx="8077201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3936"/>
                <a:gridCol w="2244844"/>
                <a:gridCol w="400842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REST Verb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CRUD Operation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Description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POST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CREATE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Create a new resource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GET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RETRIEVE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Retrieve a representation of the resource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PUT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UPDATE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Update a</a:t>
                      </a:r>
                      <a:r>
                        <a:rPr lang="en-US" sz="1800" baseline="0" dirty="0" smtClean="0">
                          <a:latin typeface="+mn-lt"/>
                        </a:rPr>
                        <a:t> resource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DELETE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  <a:cs typeface="Courier New" pitchFamily="49" charset="0"/>
                        </a:rPr>
                        <a:t>DELETE</a:t>
                      </a:r>
                      <a:endParaRPr lang="en-US" sz="1800" dirty="0">
                        <a:latin typeface="+mn-lt"/>
                        <a:cs typeface="Courier New" pitchFamily="49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+mn-lt"/>
                        </a:rPr>
                        <a:t>Delete a resource.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-381000" y="5105400"/>
            <a:ext cx="9525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defRPr/>
            </a:pPr>
            <a:r>
              <a:rPr lang="en-US" sz="1400" dirty="0" smtClean="0">
                <a:solidFill>
                  <a:srgbClr val="FF0000"/>
                </a:solidFill>
              </a:rPr>
              <a:t>Google Suggest : http://</a:t>
            </a:r>
            <a:r>
              <a:rPr lang="en-US" sz="1400" dirty="0" err="1" smtClean="0">
                <a:solidFill>
                  <a:srgbClr val="FF0000"/>
                </a:solidFill>
              </a:rPr>
              <a:t>suggestqueries.google.com/complete/search?output</a:t>
            </a:r>
            <a:r>
              <a:rPr lang="en-US" sz="1400" dirty="0" smtClean="0">
                <a:solidFill>
                  <a:srgbClr val="FF0000"/>
                </a:solidFill>
              </a:rPr>
              <a:t>=</a:t>
            </a:r>
            <a:r>
              <a:rPr lang="en-US" sz="1400" dirty="0" err="1" smtClean="0">
                <a:solidFill>
                  <a:srgbClr val="FF0000"/>
                </a:solidFill>
              </a:rPr>
              <a:t>toolbar&amp;hl</a:t>
            </a:r>
            <a:r>
              <a:rPr lang="en-US" sz="1400" dirty="0" smtClean="0">
                <a:solidFill>
                  <a:srgbClr val="FF0000"/>
                </a:solidFill>
              </a:rPr>
              <a:t>=</a:t>
            </a:r>
            <a:r>
              <a:rPr lang="en-US" sz="1400" dirty="0" err="1" smtClean="0">
                <a:solidFill>
                  <a:srgbClr val="FF0000"/>
                </a:solidFill>
              </a:rPr>
              <a:t>en&amp;q</a:t>
            </a:r>
            <a:r>
              <a:rPr lang="en-US" sz="1400" dirty="0" smtClean="0">
                <a:solidFill>
                  <a:srgbClr val="FF0000"/>
                </a:solidFill>
              </a:rPr>
              <a:t>=satyajit%20ray</a:t>
            </a:r>
          </a:p>
        </p:txBody>
      </p:sp>
      <p:sp>
        <p:nvSpPr>
          <p:cNvPr id="6" name="Rectangle 5"/>
          <p:cNvSpPr/>
          <p:nvPr/>
        </p:nvSpPr>
        <p:spPr>
          <a:xfrm>
            <a:off x="76200" y="5527357"/>
            <a:ext cx="838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defRPr/>
            </a:pPr>
            <a:r>
              <a:rPr lang="en-US" sz="1600" dirty="0" smtClean="0">
                <a:solidFill>
                  <a:srgbClr val="FF0000"/>
                </a:solidFill>
              </a:rPr>
              <a:t>Yahoo Search: </a:t>
            </a:r>
            <a:r>
              <a:rPr lang="en-US" sz="1600" dirty="0" smtClean="0">
                <a:solidFill>
                  <a:srgbClr val="FF0000"/>
                </a:solidFill>
                <a:hlinkClick r:id="rId3"/>
              </a:rPr>
              <a:t>http://search.yahooapis.com/WebSearchService/V1/webSearch?appid=YahooDemo&amp;query=accenture</a:t>
            </a:r>
            <a:endParaRPr lang="en-US" sz="1600" dirty="0" smtClean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2400" y="1066800"/>
            <a:ext cx="8763000" cy="101566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REST is an architectural pattern where services are described using an uniform interface. </a:t>
            </a:r>
            <a:r>
              <a:rPr lang="en-US" sz="2000" b="1" dirty="0" err="1" smtClean="0">
                <a:solidFill>
                  <a:srgbClr val="002060"/>
                </a:solidFill>
              </a:rPr>
              <a:t>REST</a:t>
            </a:r>
            <a:r>
              <a:rPr lang="en-US" sz="2000" b="1" i="1" dirty="0" err="1" smtClean="0">
                <a:solidFill>
                  <a:srgbClr val="002060"/>
                </a:solidFill>
              </a:rPr>
              <a:t>ful</a:t>
            </a:r>
            <a:r>
              <a:rPr lang="en-US" sz="2000" b="1" dirty="0" smtClean="0">
                <a:solidFill>
                  <a:srgbClr val="002060"/>
                </a:solidFill>
              </a:rPr>
              <a:t> services are viewed as a hypermedia resource. REST is stateless.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/>
          <a:p>
            <a:pPr>
              <a:defRPr/>
            </a:pPr>
            <a:fld id="{951A5491-B97A-441B-A1B7-FA2B9A11653A}" type="datetime1">
              <a:rPr lang="en-US" smtClean="0"/>
              <a:pPr>
                <a:defRPr/>
              </a:pPr>
              <a:t>11/5/1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j6J5YpVpUWcXirqsVerr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zLF0WJW5EyJOICodr4e_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AqiBjI2F0qmvARk_Plq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05</TotalTime>
  <Words>1061</Words>
  <Application>Microsoft Macintosh PowerPoint</Application>
  <PresentationFormat>On-screen Show (4:3)</PresentationFormat>
  <Paragraphs>207</Paragraphs>
  <Slides>14</Slides>
  <Notes>4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ffice Theme</vt:lpstr>
      <vt:lpstr>think-cell Slide</vt:lpstr>
      <vt:lpstr>SS ZG653 (RL 6.3): Software Architecture Interoperability and Its Tactics</vt:lpstr>
      <vt:lpstr>Interoperability</vt:lpstr>
      <vt:lpstr>Why Interoperate?</vt:lpstr>
      <vt:lpstr>Interoperability Scenario</vt:lpstr>
      <vt:lpstr>Notion of Interface</vt:lpstr>
      <vt:lpstr>Tactics</vt:lpstr>
      <vt:lpstr>Interoperability Tactics</vt:lpstr>
      <vt:lpstr>Interoperability Tactics</vt:lpstr>
      <vt:lpstr>REpresentational State Transfer (REST)</vt:lpstr>
      <vt:lpstr>REST vs. SOAP/WSDL</vt:lpstr>
      <vt:lpstr>Design Checklist- Interoperability</vt:lpstr>
      <vt:lpstr>Design Checklist-Interoperability</vt:lpstr>
      <vt:lpstr>Design Checklist- Interoperability</vt:lpstr>
      <vt:lpstr>Slide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Name: ERP Progress Update</dc:title>
  <dc:creator>sachin.arya;Santonu Sarkar</dc:creator>
  <cp:lastModifiedBy>Santonu sarkar</cp:lastModifiedBy>
  <cp:revision>649</cp:revision>
  <cp:lastPrinted>2015-05-28T18:20:54Z</cp:lastPrinted>
  <dcterms:created xsi:type="dcterms:W3CDTF">2015-11-05T02:55:39Z</dcterms:created>
  <dcterms:modified xsi:type="dcterms:W3CDTF">2015-11-05T03:09:15Z</dcterms:modified>
</cp:coreProperties>
</file>